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3"/>
  </p:notesMasterIdLst>
  <p:handoutMasterIdLst>
    <p:handoutMasterId r:id="rId4"/>
  </p:handoutMasterIdLst>
  <p:sldIdLst>
    <p:sldId id="258" r:id="rId2"/>
  </p:sldIdLst>
  <p:sldSz cx="10879138" cy="3959225"/>
  <p:notesSz cx="6858000" cy="9144000"/>
  <p:custDataLst>
    <p:tags r:id="rId5"/>
  </p:custDataLst>
  <p:defaultTextStyle>
    <a:defPPr>
      <a:defRPr lang="en-GB"/>
    </a:defPPr>
    <a:lvl1pPr marL="0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4313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1468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8625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5781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2938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200094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7251" algn="l" defTabSz="91431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orient="horz" pos="1247" userDrawn="1">
          <p15:clr>
            <a:srgbClr val="A4A3A4"/>
          </p15:clr>
        </p15:guide>
        <p15:guide id="8" pos="342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uwman, R. (Remke)" initials="RB" lastIdx="68" clrIdx="0">
    <p:extLst/>
  </p:cmAuthor>
  <p:cmAuthor id="2" name="CAV2" initials="C" lastIdx="5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  <a:srgbClr val="FF6200"/>
    <a:srgbClr val="E9E9E9"/>
    <a:srgbClr val="A0CAE9"/>
    <a:srgbClr val="262626"/>
    <a:srgbClr val="D0D93C"/>
    <a:srgbClr val="AB0066"/>
    <a:srgbClr val="9393C6"/>
    <a:srgbClr val="CBCBCB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C07AF9EF-7F60-4BE2-B048-E21843C071CA}">
  <a:tblStyle styleId="{C07AF9EF-7F60-4BE2-B048-E21843C071CA}" styleName="ING Default Table">
    <a:tblBg>
      <a:effect>
        <a:effectLst/>
      </a:effect>
    </a:tblBg>
    <a:wholeTbl>
      <a:tcTxStyle b="off" i="off">
        <a:fontRef idx="minor"/>
        <a:srgbClr val="333333">
          <a:alpha val="100000"/>
        </a:srgbClr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0000">
              <a:solidFill>
                <a:srgbClr val="E1E1E1">
                  <a:alpha val="100000"/>
                </a:srgbClr>
              </a:solidFill>
            </a:ln>
          </a:bottom>
          <a:insideH>
            <a:ln w="10000">
              <a:solidFill>
                <a:srgbClr val="E1E1E1">
                  <a:alpha val="100000"/>
                </a:srgbClr>
              </a:solidFill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rgbClr val="FFFFFF">
              <a:alpha val="100000"/>
            </a:srgbClr>
          </a:solidFill>
        </a:fill>
      </a:tcStyle>
    </a:wholeTbl>
    <a:lastRow>
      <a:tcTxStyle b="off" i="off">
        <a:fontRef idx="minor"/>
        <a:srgbClr val="333333">
          <a:alpha val="100000"/>
        </a:srgbClr>
      </a:tcTxStyle>
      <a:tcStyle>
        <a:tcBdr/>
        <a:fill>
          <a:solidFill>
            <a:srgbClr val="E1E1E1">
              <a:alpha val="100000"/>
            </a:srgbClr>
          </a:solidFill>
        </a:fill>
      </a:tcStyle>
    </a:lastRow>
    <a:firstRow>
      <a:tcTxStyle b="off" i="off">
        <a:fontRef idx="minor"/>
        <a:srgbClr val="FFFFFF">
          <a:alpha val="100000"/>
        </a:srgbClr>
      </a:tcTxStyle>
      <a:tcStyle>
        <a:tcBdr/>
        <a:fill>
          <a:solidFill>
            <a:srgbClr val="FF6200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1" autoAdjust="0"/>
    <p:restoredTop sz="92620" autoAdjust="0"/>
  </p:normalViewPr>
  <p:slideViewPr>
    <p:cSldViewPr snapToGrid="0" showGuides="1">
      <p:cViewPr varScale="1">
        <p:scale>
          <a:sx n="103" d="100"/>
          <a:sy n="103" d="100"/>
        </p:scale>
        <p:origin x="144" y="773"/>
      </p:cViewPr>
      <p:guideLst>
        <p:guide orient="horz" pos="1247"/>
        <p:guide pos="3427"/>
      </p:guideLst>
    </p:cSldViewPr>
  </p:slideViewPr>
  <p:outlineViewPr>
    <p:cViewPr>
      <p:scale>
        <a:sx n="33" d="100"/>
        <a:sy n="33" d="100"/>
      </p:scale>
      <p:origin x="0" y="-42581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74" d="100"/>
          <a:sy n="74" d="100"/>
        </p:scale>
        <p:origin x="1272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30/08/2018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85800" y="0"/>
            <a:ext cx="4966198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30/08/2018</a:t>
            </a:fld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38589"/>
            <a:ext cx="5486400" cy="474662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85799" y="8856661"/>
            <a:ext cx="4966199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-809625" y="681038"/>
            <a:ext cx="84772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13" rtl="0" eaLnBrk="1" latinLnBrk="0" hangingPunct="1">
      <a:lnSpc>
        <a:spcPct val="110000"/>
      </a:lnSpc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74608" indent="-174608" algn="l" defTabSz="914313" rtl="0" eaLnBrk="1" latinLnBrk="0" hangingPunct="1">
      <a:lnSpc>
        <a:spcPct val="110000"/>
      </a:lnSpc>
      <a:buFont typeface="ING Me" pitchFamily="2" charset="0"/>
      <a:buChar char="•"/>
      <a:defRPr sz="14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28" indent="-174608" algn="l" defTabSz="914313" rtl="0" eaLnBrk="1" latinLnBrk="0" hangingPunct="1">
      <a:lnSpc>
        <a:spcPct val="110000"/>
      </a:lnSpc>
      <a:buFont typeface="ING Me" pitchFamily="2" charset="0"/>
      <a:buChar char="•"/>
      <a:defRPr sz="14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37" indent="-174608" algn="l" defTabSz="914313" rtl="0" eaLnBrk="1" latinLnBrk="0" hangingPunct="1">
      <a:lnSpc>
        <a:spcPct val="110000"/>
      </a:lnSpc>
      <a:buFont typeface="ING Me" pitchFamily="2" charset="0"/>
      <a:buChar char="•"/>
      <a:defRPr sz="14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069" indent="-174608" algn="l" defTabSz="914313" rtl="0" eaLnBrk="1" latinLnBrk="0" hangingPunct="1">
      <a:lnSpc>
        <a:spcPct val="110000"/>
      </a:lnSpc>
      <a:buFont typeface="ING Me" pitchFamily="2" charset="0"/>
      <a:buChar char="•"/>
      <a:defRPr sz="14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5781" algn="l" defTabSz="91431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38" algn="l" defTabSz="91431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94" algn="l" defTabSz="91431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51" algn="l" defTabSz="91431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376" userDrawn="1">
          <p15:clr>
            <a:srgbClr val="F26B43"/>
          </p15:clr>
        </p15:guide>
        <p15:guide id="2" orient="horz" pos="432" userDrawn="1">
          <p15:clr>
            <a:srgbClr val="F26B43"/>
          </p15:clr>
        </p15:guide>
        <p15:guide id="3" orient="horz" pos="2481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1" y="948643"/>
            <a:ext cx="10118449" cy="1764239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7" y="3478254"/>
            <a:ext cx="10877526" cy="480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751730" y="1222063"/>
            <a:ext cx="9202659" cy="70869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4105"/>
              </a:lnSpc>
              <a:defRPr sz="4105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4" y="2448223"/>
            <a:ext cx="6320048" cy="17712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785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698" y="2053398"/>
            <a:ext cx="9195937" cy="222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963"/>
              </a:lnSpc>
              <a:defRPr sz="196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47941" y="3026322"/>
            <a:ext cx="1959530" cy="761231"/>
          </a:xfrm>
          <a:prstGeom prst="rect">
            <a:avLst/>
          </a:prstGeom>
        </p:spPr>
        <p:txBody>
          <a:bodyPr lIns="0" anchor="ctr" anchorCtr="0"/>
          <a:lstStyle>
            <a:lvl1pPr algn="l">
              <a:lnSpc>
                <a:spcPct val="100000"/>
              </a:lnSpc>
              <a:defRPr sz="803" b="0"/>
            </a:lvl1pPr>
          </a:lstStyle>
          <a:p>
            <a:r>
              <a:rPr lang="en-GB" dirty="0"/>
              <a:t>Click to insert project logo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3581534"/>
            <a:ext cx="1354714" cy="218225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747941" y="4014214"/>
            <a:ext cx="0" cy="207833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690473" y="4014214"/>
            <a:ext cx="0" cy="2078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80730" y="3786723"/>
            <a:ext cx="321234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80730" y="3579798"/>
            <a:ext cx="32123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1076737" y="4052729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en-GB" sz="892"/>
              <a:t>Max.</a:t>
            </a:r>
            <a:r>
              <a:rPr lang="en-GB" sz="892" baseline="0"/>
              <a:t> width</a:t>
            </a:r>
            <a:endParaRPr lang="en-GB" sz="892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344434" y="3617859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r"/>
            <a:r>
              <a:rPr lang="en-GB" sz="892" dirty="0"/>
              <a:t>Min.</a:t>
            </a:r>
            <a:r>
              <a:rPr lang="en-GB" sz="892" baseline="0" dirty="0"/>
              <a:t> height</a:t>
            </a:r>
            <a:endParaRPr lang="en-GB" sz="892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-1344434" y="3058109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r"/>
            <a:r>
              <a:rPr lang="en-GB" sz="892" dirty="0"/>
              <a:t>Max.</a:t>
            </a:r>
            <a:r>
              <a:rPr lang="en-GB" sz="892" baseline="0" dirty="0"/>
              <a:t> height</a:t>
            </a:r>
            <a:endParaRPr lang="en-GB" sz="892" dirty="0"/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88138" y="2477553"/>
            <a:ext cx="2666245" cy="159115"/>
          </a:xfrm>
          <a:prstGeom prst="rect">
            <a:avLst/>
          </a:prstGeo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338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77" name="Group 76"/>
          <p:cNvGrpSpPr/>
          <p:nvPr userDrawn="1"/>
        </p:nvGrpSpPr>
        <p:grpSpPr>
          <a:xfrm>
            <a:off x="-1816022" y="3"/>
            <a:ext cx="1678875" cy="2988265"/>
            <a:chOff x="-2035175" y="0"/>
            <a:chExt cx="1881477" cy="5176145"/>
          </a:xfrm>
        </p:grpSpPr>
        <p:sp>
          <p:nvSpPr>
            <p:cNvPr id="78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79" name="Group 78"/>
            <p:cNvGrpSpPr/>
            <p:nvPr userDrawn="1"/>
          </p:nvGrpSpPr>
          <p:grpSpPr>
            <a:xfrm>
              <a:off x="-2035175" y="0"/>
              <a:ext cx="1872000" cy="5176145"/>
              <a:chOff x="-2035175" y="0"/>
              <a:chExt cx="1872000" cy="5730106"/>
            </a:xfrm>
          </p:grpSpPr>
          <p:sp>
            <p:nvSpPr>
              <p:cNvPr id="80" name="Rectangle 104"/>
              <p:cNvSpPr>
                <a:spLocks noChangeArrowheads="1"/>
              </p:cNvSpPr>
              <p:nvPr/>
            </p:nvSpPr>
            <p:spPr bwMode="gray">
              <a:xfrm>
                <a:off x="-2035175" y="4694552"/>
                <a:ext cx="1872000" cy="1035554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1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2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3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84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5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86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7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88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9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90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91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2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93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4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95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6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7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8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99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00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101" name="Picture 100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102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03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104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05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10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107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108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8" userDrawn="1">
          <p15:clr>
            <a:srgbClr val="FBAE40"/>
          </p15:clr>
        </p15:guide>
        <p15:guide id="2" orient="horz" pos="190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1" y="948643"/>
            <a:ext cx="10118449" cy="1764239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7" y="3478254"/>
            <a:ext cx="10877526" cy="480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751730" y="1222063"/>
            <a:ext cx="9202659" cy="70869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4105"/>
              </a:lnSpc>
              <a:defRPr sz="4105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4" y="2448223"/>
            <a:ext cx="6320048" cy="17712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785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698" y="2053398"/>
            <a:ext cx="9195937" cy="222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963"/>
              </a:lnSpc>
              <a:defRPr sz="196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3581534"/>
            <a:ext cx="1354714" cy="218225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88138" y="2477553"/>
            <a:ext cx="2666245" cy="159115"/>
          </a:xfrm>
          <a:prstGeom prst="rect">
            <a:avLst/>
          </a:prstGeo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338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9591678" y="-76837"/>
            <a:ext cx="1285854" cy="903593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19050">
              <a:solidFill>
                <a:srgbClr val="60A6DA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55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GB" sz="1428" noProof="0" dirty="0"/>
                <a:t>Confidential</a:t>
              </a:r>
            </a:p>
          </p:txBody>
        </p:sp>
      </p:grpSp>
      <p:grpSp>
        <p:nvGrpSpPr>
          <p:cNvPr id="45" name="Group 44"/>
          <p:cNvGrpSpPr/>
          <p:nvPr userDrawn="1"/>
        </p:nvGrpSpPr>
        <p:grpSpPr>
          <a:xfrm>
            <a:off x="-1816022" y="1"/>
            <a:ext cx="1678875" cy="2988267"/>
            <a:chOff x="-2035175" y="0"/>
            <a:chExt cx="1881477" cy="5176147"/>
          </a:xfrm>
        </p:grpSpPr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47" name="Group 46"/>
            <p:cNvGrpSpPr/>
            <p:nvPr userDrawn="1"/>
          </p:nvGrpSpPr>
          <p:grpSpPr>
            <a:xfrm>
              <a:off x="-2035175" y="0"/>
              <a:ext cx="1872000" cy="5176147"/>
              <a:chOff x="-2035175" y="0"/>
              <a:chExt cx="1872000" cy="5730108"/>
            </a:xfrm>
          </p:grpSpPr>
          <p:sp>
            <p:nvSpPr>
              <p:cNvPr id="49" name="Rectangle 104"/>
              <p:cNvSpPr>
                <a:spLocks noChangeArrowheads="1"/>
              </p:cNvSpPr>
              <p:nvPr/>
            </p:nvSpPr>
            <p:spPr bwMode="gray">
              <a:xfrm>
                <a:off x="-2035175" y="4653097"/>
                <a:ext cx="1872000" cy="107701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0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1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2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53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4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55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6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57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8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59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60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1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62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3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64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5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66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7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68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9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89" name="Picture 88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90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3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4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5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97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98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  <p:pic>
        <p:nvPicPr>
          <p:cNvPr id="70" name="Picture 6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9288" y="3507858"/>
            <a:ext cx="2277290" cy="442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5" y="948646"/>
            <a:ext cx="5272991" cy="175827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751724" y="1161727"/>
            <a:ext cx="4352697" cy="84380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3391"/>
              </a:lnSpc>
              <a:defRPr sz="3391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4" y="2327435"/>
            <a:ext cx="4352697" cy="17712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517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724" y="2080345"/>
            <a:ext cx="4352697" cy="167832"/>
          </a:xfrm>
          <a:prstGeom prst="rect">
            <a:avLst/>
          </a:prstGeom>
        </p:spPr>
        <p:txBody>
          <a:bodyPr bIns="0">
            <a:noAutofit/>
          </a:bodyPr>
          <a:lstStyle>
            <a:lvl1pPr algn="l">
              <a:lnSpc>
                <a:spcPts val="1517"/>
              </a:lnSpc>
              <a:defRPr sz="151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7" y="3478254"/>
            <a:ext cx="10877526" cy="480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3581534"/>
            <a:ext cx="1354714" cy="218225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51720" y="2529735"/>
            <a:ext cx="4352726" cy="124700"/>
          </a:xfrm>
          <a:prstGeom prst="rect">
            <a:avLst/>
          </a:prstGeom>
        </p:spPr>
        <p:txBody>
          <a:bodyPr tIns="0" bIns="0"/>
          <a:lstStyle>
            <a:lvl1pPr marL="0" indent="0" algn="l">
              <a:lnSpc>
                <a:spcPts val="1205"/>
              </a:lnSpc>
              <a:buNone/>
              <a:defRPr sz="1205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9591678" y="-76837"/>
            <a:ext cx="1285854" cy="903593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19050">
              <a:solidFill>
                <a:srgbClr val="60A6DA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55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GB" sz="1428" noProof="0" dirty="0"/>
                <a:t>Confidential</a:t>
              </a:r>
            </a:p>
          </p:txBody>
        </p:sp>
      </p:grp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834" y="4"/>
            <a:ext cx="10881971" cy="3478252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-1816022" y="3"/>
            <a:ext cx="1678875" cy="2988265"/>
            <a:chOff x="-2035175" y="0"/>
            <a:chExt cx="1881477" cy="517614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49" name="Group 48"/>
            <p:cNvGrpSpPr/>
            <p:nvPr userDrawn="1"/>
          </p:nvGrpSpPr>
          <p:grpSpPr>
            <a:xfrm>
              <a:off x="-2035175" y="0"/>
              <a:ext cx="1872000" cy="5176146"/>
              <a:chOff x="-2035175" y="0"/>
              <a:chExt cx="1872000" cy="5730107"/>
            </a:xfrm>
          </p:grpSpPr>
          <p:sp>
            <p:nvSpPr>
              <p:cNvPr id="50" name="Rectangle 104"/>
              <p:cNvSpPr>
                <a:spLocks noChangeArrowheads="1"/>
              </p:cNvSpPr>
              <p:nvPr/>
            </p:nvSpPr>
            <p:spPr bwMode="gray">
              <a:xfrm>
                <a:off x="-2035175" y="4684343"/>
                <a:ext cx="1872000" cy="1045764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1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2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3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54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5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56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7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58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9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60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61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63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4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65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6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67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8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69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1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92" name="Picture 91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95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6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7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8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9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100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101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  <p:pic>
        <p:nvPicPr>
          <p:cNvPr id="72" name="Picture 7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9288" y="3507858"/>
            <a:ext cx="2277290" cy="442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621867" y="693442"/>
            <a:ext cx="9993602" cy="2886374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1594" tIns="40797" rIns="81594" bIns="40797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1606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754522" y="766183"/>
            <a:ext cx="9359678" cy="2743400"/>
          </a:xfrm>
          <a:prstGeom prst="rect">
            <a:avLst/>
          </a:prstGeom>
        </p:spPr>
        <p:txBody>
          <a:bodyPr>
            <a:noAutofit/>
          </a:bodyPr>
          <a:lstStyle>
            <a:lvl1pPr marL="385469" marR="0" indent="-385469" algn="l" defTabSz="815889" rtl="0" eaLnBrk="1" fontAlgn="auto" latinLnBrk="0" hangingPunct="1">
              <a:lnSpc>
                <a:spcPts val="1963"/>
              </a:lnSpc>
              <a:spcBef>
                <a:spcPts val="178"/>
              </a:spcBef>
              <a:spcAft>
                <a:spcPts val="714"/>
              </a:spcAft>
              <a:buClrTx/>
              <a:buSzTx/>
              <a:buFont typeface="+mj-lt"/>
              <a:buAutoNum type="arabicPeriod"/>
              <a:tabLst>
                <a:tab pos="317290" algn="l"/>
              </a:tabLst>
              <a:defRPr sz="1785" b="0"/>
            </a:lvl1pPr>
            <a:lvl2pPr>
              <a:defRPr sz="1785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54527" y="162074"/>
            <a:ext cx="9350619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621867" y="693442"/>
            <a:ext cx="9993602" cy="2886374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1594" tIns="40797" rIns="81594" bIns="40797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1606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754531" y="766183"/>
            <a:ext cx="5342329" cy="2743400"/>
          </a:xfrm>
          <a:prstGeom prst="rect">
            <a:avLst/>
          </a:prstGeom>
        </p:spPr>
        <p:txBody>
          <a:bodyPr>
            <a:noAutofit/>
          </a:bodyPr>
          <a:lstStyle>
            <a:lvl1pPr marL="385469" marR="0" indent="-385469" algn="l" defTabSz="815889" rtl="0" eaLnBrk="1" fontAlgn="auto" latinLnBrk="0" hangingPunct="1">
              <a:lnSpc>
                <a:spcPts val="1963"/>
              </a:lnSpc>
              <a:spcBef>
                <a:spcPts val="178"/>
              </a:spcBef>
              <a:spcAft>
                <a:spcPts val="714"/>
              </a:spcAft>
              <a:buClrTx/>
              <a:buSzTx/>
              <a:buFont typeface="+mj-lt"/>
              <a:buAutoNum type="arabicPeriod"/>
              <a:tabLst>
                <a:tab pos="317290" algn="l"/>
              </a:tabLst>
              <a:defRPr sz="1785" b="0"/>
            </a:lvl1pPr>
            <a:lvl2pPr>
              <a:defRPr sz="1785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54527" y="162074"/>
            <a:ext cx="9350619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510483" y="693443"/>
            <a:ext cx="4104986" cy="2886373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4" userDrawn="1">
          <p15:clr>
            <a:srgbClr val="FBAE40"/>
          </p15:clr>
        </p15:guide>
        <p15:guide id="2" pos="4101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978810"/>
            <a:ext cx="10128520" cy="1375331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1594" tIns="40797" rIns="81594" bIns="40797" numCol="1" anchor="t" anchorCtr="0" compatLnSpc="1">
            <a:prstTxWarp prst="textNoShape">
              <a:avLst/>
            </a:prstTxWarp>
          </a:bodyPr>
          <a:lstStyle/>
          <a:p>
            <a:endParaRPr lang="en-GB" sz="1606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751730" y="978813"/>
            <a:ext cx="9202659" cy="136739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4105"/>
              </a:lnSpc>
              <a:defRPr sz="4105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710" y="3670608"/>
            <a:ext cx="1055836" cy="170081"/>
          </a:xfrm>
          <a:prstGeom prst="rect">
            <a:avLst/>
          </a:prstGeom>
        </p:spPr>
      </p:pic>
      <p:grpSp>
        <p:nvGrpSpPr>
          <p:cNvPr id="56" name="Group 55"/>
          <p:cNvGrpSpPr/>
          <p:nvPr userDrawn="1"/>
        </p:nvGrpSpPr>
        <p:grpSpPr>
          <a:xfrm>
            <a:off x="-1816022" y="3"/>
            <a:ext cx="1678875" cy="2988265"/>
            <a:chOff x="-2035175" y="0"/>
            <a:chExt cx="1881477" cy="5176146"/>
          </a:xfrm>
        </p:grpSpPr>
        <p:sp>
          <p:nvSpPr>
            <p:cNvPr id="57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58" name="Group 57"/>
            <p:cNvGrpSpPr/>
            <p:nvPr userDrawn="1"/>
          </p:nvGrpSpPr>
          <p:grpSpPr>
            <a:xfrm>
              <a:off x="-2035175" y="0"/>
              <a:ext cx="1872000" cy="5176146"/>
              <a:chOff x="-2035175" y="0"/>
              <a:chExt cx="1872000" cy="5730107"/>
            </a:xfrm>
          </p:grpSpPr>
          <p:sp>
            <p:nvSpPr>
              <p:cNvPr id="59" name="Rectangle 104"/>
              <p:cNvSpPr>
                <a:spLocks noChangeArrowheads="1"/>
              </p:cNvSpPr>
              <p:nvPr/>
            </p:nvSpPr>
            <p:spPr bwMode="gray">
              <a:xfrm>
                <a:off x="-2035175" y="4679072"/>
                <a:ext cx="1872000" cy="1051035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0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1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63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4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65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6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67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8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69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70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1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72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3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74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5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76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5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86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7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88" name="Picture 87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89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0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1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2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3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94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95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621867" y="979543"/>
            <a:ext cx="9993602" cy="2600272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747950" y="148790"/>
            <a:ext cx="9868427" cy="6811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105"/>
              </a:lnSpc>
              <a:defRPr sz="4105"/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8710" y="3670608"/>
            <a:ext cx="1055836" cy="170081"/>
          </a:xfrm>
          <a:prstGeom prst="rect">
            <a:avLst/>
          </a:prstGeom>
        </p:spPr>
      </p:pic>
      <p:grpSp>
        <p:nvGrpSpPr>
          <p:cNvPr id="35" name="Group 34"/>
          <p:cNvGrpSpPr/>
          <p:nvPr userDrawn="1"/>
        </p:nvGrpSpPr>
        <p:grpSpPr>
          <a:xfrm>
            <a:off x="-1816022" y="3"/>
            <a:ext cx="1678875" cy="2988265"/>
            <a:chOff x="-2035175" y="0"/>
            <a:chExt cx="1881477" cy="5176146"/>
          </a:xfrm>
        </p:grpSpPr>
        <p:sp>
          <p:nvSpPr>
            <p:cNvPr id="36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37" name="Group 36"/>
            <p:cNvGrpSpPr/>
            <p:nvPr userDrawn="1"/>
          </p:nvGrpSpPr>
          <p:grpSpPr>
            <a:xfrm>
              <a:off x="-2035175" y="0"/>
              <a:ext cx="1872000" cy="5176146"/>
              <a:chOff x="-2035175" y="0"/>
              <a:chExt cx="1872000" cy="5730107"/>
            </a:xfrm>
          </p:grpSpPr>
          <p:sp>
            <p:nvSpPr>
              <p:cNvPr id="39" name="Rectangle 104"/>
              <p:cNvSpPr>
                <a:spLocks noChangeArrowheads="1"/>
              </p:cNvSpPr>
              <p:nvPr/>
            </p:nvSpPr>
            <p:spPr bwMode="gray">
              <a:xfrm>
                <a:off x="-2035175" y="4653095"/>
                <a:ext cx="1872000" cy="1077012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0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1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2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43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4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45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6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47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8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49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50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1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52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3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54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5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86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7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88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9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90" name="Picture 89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91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2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3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4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5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9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97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600188" y="738032"/>
            <a:ext cx="4514013" cy="2841082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7" y="738032"/>
            <a:ext cx="4513343" cy="28410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54533" y="162074"/>
            <a:ext cx="9359677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19" userDrawn="1">
          <p15:clr>
            <a:srgbClr val="FBAE40"/>
          </p15:clr>
        </p15:guide>
        <p15:guide id="2" pos="352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600188" y="1036649"/>
            <a:ext cx="4514013" cy="2542465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7" y="1036649"/>
            <a:ext cx="4513343" cy="25424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54533" y="162074"/>
            <a:ext cx="9359677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54531" y="737802"/>
            <a:ext cx="4515061" cy="251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599148" y="737802"/>
            <a:ext cx="4515061" cy="251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19" userDrawn="1">
          <p15:clr>
            <a:srgbClr val="FBAE40"/>
          </p15:clr>
        </p15:guide>
        <p15:guide id="2" pos="352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600188" y="737812"/>
            <a:ext cx="4514013" cy="2845921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7" y="1036649"/>
            <a:ext cx="4513343" cy="25424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54533" y="162074"/>
            <a:ext cx="9359677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54531" y="737802"/>
            <a:ext cx="4515061" cy="251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19" userDrawn="1">
          <p15:clr>
            <a:srgbClr val="FBAE40"/>
          </p15:clr>
        </p15:guide>
        <p15:guide id="2" pos="352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600188" y="1036649"/>
            <a:ext cx="4514013" cy="2542465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7" y="737812"/>
            <a:ext cx="4513343" cy="28459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54533" y="162074"/>
            <a:ext cx="9359677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599148" y="737802"/>
            <a:ext cx="4515061" cy="251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19" userDrawn="1">
          <p15:clr>
            <a:srgbClr val="FBAE40"/>
          </p15:clr>
        </p15:guide>
        <p15:guide id="2" pos="352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0396276"/>
              </p:ext>
            </p:extLst>
          </p:nvPr>
        </p:nvGraphicFramePr>
        <p:xfrm>
          <a:off x="1422" y="918"/>
          <a:ext cx="1416" cy="9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2" y="918"/>
                        <a:ext cx="1416" cy="9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7" y="738032"/>
            <a:ext cx="9350619" cy="28417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39390" indent="-239390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478781" indent="-237974">
              <a:buClr>
                <a:schemeClr val="accent2"/>
              </a:buClr>
              <a:defRPr/>
            </a:lvl3pPr>
            <a:lvl4pPr marL="721003" indent="-232308">
              <a:buClr>
                <a:schemeClr val="accent3"/>
              </a:buClr>
              <a:defRPr/>
            </a:lvl4pPr>
            <a:lvl5pPr marL="956144" indent="-225225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527" y="162074"/>
            <a:ext cx="9350619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600861" y="737810"/>
            <a:ext cx="4513343" cy="134524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754527" y="737810"/>
            <a:ext cx="4513343" cy="1345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600861" y="2238591"/>
            <a:ext cx="4513343" cy="134524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754527" y="2238591"/>
            <a:ext cx="4513343" cy="1345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54533" y="162074"/>
            <a:ext cx="9359677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19" userDrawn="1">
          <p15:clr>
            <a:srgbClr val="FBAE40"/>
          </p15:clr>
        </p15:guide>
        <p15:guide id="0" pos="3523" userDrawn="1">
          <p15:clr>
            <a:srgbClr val="FBAE40"/>
          </p15:clr>
        </p15:guide>
        <p15:guide id="2" orient="horz" pos="1313" userDrawn="1">
          <p15:clr>
            <a:srgbClr val="FBAE40"/>
          </p15:clr>
        </p15:guide>
        <p15:guide id="3" orient="horz" pos="141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755710" y="738033"/>
            <a:ext cx="2913596" cy="13446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978156" y="738033"/>
            <a:ext cx="2913596" cy="13446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7200604" y="738033"/>
            <a:ext cx="2913596" cy="13446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755711" y="2242438"/>
            <a:ext cx="2913596" cy="13446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978157" y="2242438"/>
            <a:ext cx="2913596" cy="13446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7200604" y="2242438"/>
            <a:ext cx="2913596" cy="13446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54533" y="162074"/>
            <a:ext cx="9359677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312" userDrawn="1">
          <p15:clr>
            <a:srgbClr val="FBAE40"/>
          </p15:clr>
        </p15:guide>
        <p15:guide id="2" pos="2506" userDrawn="1">
          <p15:clr>
            <a:srgbClr val="FBAE40"/>
          </p15:clr>
        </p15:guide>
        <p15:guide id="3" pos="4343" userDrawn="1">
          <p15:clr>
            <a:srgbClr val="FBAE40"/>
          </p15:clr>
        </p15:guide>
        <p15:guide id="4" pos="4536" userDrawn="1">
          <p15:clr>
            <a:srgbClr val="FBAE40"/>
          </p15:clr>
        </p15:guide>
        <p15:guide id="5" orient="horz" pos="1313" userDrawn="1">
          <p15:clr>
            <a:srgbClr val="FBAE40"/>
          </p15:clr>
        </p15:guide>
        <p15:guide id="6" orient="horz" pos="141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755710" y="1036650"/>
            <a:ext cx="2913596" cy="155701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978156" y="1036650"/>
            <a:ext cx="2913596" cy="155701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7200604" y="1036650"/>
            <a:ext cx="2913596" cy="155701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755711" y="2748444"/>
            <a:ext cx="2913596" cy="8313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978157" y="2748444"/>
            <a:ext cx="2913596" cy="8313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7200604" y="2748444"/>
            <a:ext cx="2913596" cy="8313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54533" y="162074"/>
            <a:ext cx="9359677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54522" y="737802"/>
            <a:ext cx="2913596" cy="251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78156" y="737802"/>
            <a:ext cx="2913596" cy="251720"/>
          </a:xfrm>
          <a:prstGeom prst="rect">
            <a:avLst/>
          </a:prstGeom>
        </p:spPr>
        <p:txBody>
          <a:bodyPr/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7200604" y="737802"/>
            <a:ext cx="2913596" cy="251720"/>
          </a:xfrm>
          <a:prstGeom prst="rect">
            <a:avLst/>
          </a:prstGeom>
        </p:spPr>
        <p:txBody>
          <a:bodyPr/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506" userDrawn="1">
          <p15:clr>
            <a:srgbClr val="FBAE40"/>
          </p15:clr>
        </p15:guide>
        <p15:guide id="3" pos="4343" userDrawn="1">
          <p15:clr>
            <a:srgbClr val="FBAE40"/>
          </p15:clr>
        </p15:guide>
        <p15:guide id="4" pos="4536" userDrawn="1">
          <p15:clr>
            <a:srgbClr val="FBAE40"/>
          </p15:clr>
        </p15:guide>
        <p15:guide id="5" orient="horz" pos="1633" userDrawn="1">
          <p15:clr>
            <a:srgbClr val="FBAE40"/>
          </p15:clr>
        </p15:guide>
        <p15:guide id="6" orient="horz" pos="1731" userDrawn="1">
          <p15:clr>
            <a:srgbClr val="FBAE40"/>
          </p15:clr>
        </p15:guide>
        <p15:guide id="7" pos="231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754527" y="738955"/>
            <a:ext cx="4513343" cy="187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754527" y="1012937"/>
            <a:ext cx="4513343" cy="1070340"/>
          </a:xfrm>
          <a:prstGeom prst="rect">
            <a:avLst/>
          </a:prstGeom>
        </p:spPr>
        <p:txBody>
          <a:bodyPr/>
          <a:lstStyle>
            <a:lvl3pPr>
              <a:lnSpc>
                <a:spcPts val="1963"/>
              </a:lnSpc>
              <a:defRPr sz="1785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54527" y="2238594"/>
            <a:ext cx="4513343" cy="187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754527" y="2509461"/>
            <a:ext cx="4513343" cy="1070340"/>
          </a:xfrm>
          <a:prstGeom prst="rect">
            <a:avLst/>
          </a:prstGeom>
        </p:spPr>
        <p:txBody>
          <a:bodyPr/>
          <a:lstStyle>
            <a:lvl3pPr>
              <a:lnSpc>
                <a:spcPts val="1963"/>
              </a:lnSpc>
              <a:defRPr sz="1785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754527" y="971562"/>
            <a:ext cx="451334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754527" y="2470221"/>
            <a:ext cx="451334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600861" y="738955"/>
            <a:ext cx="4513343" cy="187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600861" y="1012937"/>
            <a:ext cx="4513343" cy="1070340"/>
          </a:xfrm>
          <a:prstGeom prst="rect">
            <a:avLst/>
          </a:prstGeom>
        </p:spPr>
        <p:txBody>
          <a:bodyPr/>
          <a:lstStyle>
            <a:lvl3pPr>
              <a:lnSpc>
                <a:spcPts val="1963"/>
              </a:lnSpc>
              <a:defRPr sz="1785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600861" y="2238594"/>
            <a:ext cx="4513343" cy="187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600861" y="2509461"/>
            <a:ext cx="4513343" cy="1070340"/>
          </a:xfrm>
          <a:prstGeom prst="rect">
            <a:avLst/>
          </a:prstGeom>
        </p:spPr>
        <p:txBody>
          <a:bodyPr/>
          <a:lstStyle>
            <a:lvl3pPr>
              <a:lnSpc>
                <a:spcPts val="1963"/>
              </a:lnSpc>
              <a:defRPr sz="1785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600861" y="971562"/>
            <a:ext cx="451334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600861" y="2470221"/>
            <a:ext cx="451334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54533" y="162074"/>
            <a:ext cx="9359677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319" userDrawn="1">
          <p15:clr>
            <a:srgbClr val="FBAE40"/>
          </p15:clr>
        </p15:guide>
        <p15:guide id="3" pos="3527" userDrawn="1">
          <p15:clr>
            <a:srgbClr val="FBAE40"/>
          </p15:clr>
        </p15:guide>
        <p15:guide id="4" orient="horz" pos="1313" userDrawn="1">
          <p15:clr>
            <a:srgbClr val="FBAE40"/>
          </p15:clr>
        </p15:guide>
        <p15:guide id="5" orient="horz" pos="141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54533" y="162074"/>
            <a:ext cx="9359677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754522" y="738033"/>
            <a:ext cx="2913596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754522" y="1014505"/>
            <a:ext cx="2913596" cy="1068209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54522" y="2239158"/>
            <a:ext cx="2913596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754522" y="2509464"/>
            <a:ext cx="2913596" cy="106826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754522" y="973131"/>
            <a:ext cx="2913596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754522" y="2470221"/>
            <a:ext cx="2913596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7200604" y="738033"/>
            <a:ext cx="2913596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7200604" y="1014505"/>
            <a:ext cx="2913596" cy="1068209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7200604" y="2239158"/>
            <a:ext cx="2913596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200604" y="2509464"/>
            <a:ext cx="2913596" cy="106826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7200604" y="973131"/>
            <a:ext cx="2913596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7200604" y="2470221"/>
            <a:ext cx="2913596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977563" y="738033"/>
            <a:ext cx="2913596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977563" y="1014505"/>
            <a:ext cx="2913596" cy="1068209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977563" y="2239158"/>
            <a:ext cx="2913596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977563" y="2509464"/>
            <a:ext cx="2913596" cy="106826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977563" y="973131"/>
            <a:ext cx="2913596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977563" y="2470221"/>
            <a:ext cx="2913596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313" userDrawn="1">
          <p15:clr>
            <a:srgbClr val="FBAE40"/>
          </p15:clr>
        </p15:guide>
        <p15:guide id="3" pos="4536" userDrawn="1">
          <p15:clr>
            <a:srgbClr val="FBAE40"/>
          </p15:clr>
        </p15:guide>
        <p15:guide id="4" pos="2501" userDrawn="1">
          <p15:clr>
            <a:srgbClr val="FBAE40"/>
          </p15:clr>
        </p15:guide>
        <p15:guide id="5" pos="4343" userDrawn="1">
          <p15:clr>
            <a:srgbClr val="FBAE40"/>
          </p15:clr>
        </p15:guide>
        <p15:guide id="6" orient="horz" pos="1313" userDrawn="1">
          <p15:clr>
            <a:srgbClr val="FBAE40"/>
          </p15:clr>
        </p15:guide>
        <p15:guide id="7" orient="horz" pos="141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54533" y="162074"/>
            <a:ext cx="9359677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754522" y="738033"/>
            <a:ext cx="2280764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754522" y="1014509"/>
            <a:ext cx="2280764" cy="106826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54522" y="2239158"/>
            <a:ext cx="2280764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754522" y="2509464"/>
            <a:ext cx="2280764" cy="106826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754522" y="973131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754522" y="2470221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114158" y="738033"/>
            <a:ext cx="2280764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3114158" y="1014509"/>
            <a:ext cx="2280764" cy="106826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3114158" y="2239158"/>
            <a:ext cx="2280764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3114158" y="2509464"/>
            <a:ext cx="2280764" cy="106826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3114158" y="973131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3114158" y="2470221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5473798" y="738033"/>
            <a:ext cx="2280764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5473798" y="1014509"/>
            <a:ext cx="2280764" cy="106826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5473798" y="2239158"/>
            <a:ext cx="2280764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5473798" y="2509464"/>
            <a:ext cx="2280764" cy="106826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5473798" y="973131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5473798" y="2470221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833435" y="738033"/>
            <a:ext cx="2280764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833435" y="1014509"/>
            <a:ext cx="2280764" cy="106826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833435" y="2239158"/>
            <a:ext cx="2280764" cy="187050"/>
          </a:xfrm>
          <a:prstGeom prst="rect">
            <a:avLst/>
          </a:prstGeom>
        </p:spPr>
        <p:txBody>
          <a:bodyPr/>
          <a:lstStyle>
            <a:lvl1pPr>
              <a:lnSpc>
                <a:spcPts val="1874"/>
              </a:lnSpc>
              <a:defRPr sz="1606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833435" y="2509464"/>
            <a:ext cx="2280764" cy="1068263"/>
          </a:xfrm>
          <a:prstGeom prst="rect">
            <a:avLst/>
          </a:prstGeom>
        </p:spPr>
        <p:txBody>
          <a:bodyPr/>
          <a:lstStyle>
            <a:lvl3pPr>
              <a:lnSpc>
                <a:spcPts val="1874"/>
              </a:lnSpc>
              <a:defRPr sz="1606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833435" y="973131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833435" y="2470221"/>
            <a:ext cx="2280764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918" userDrawn="1">
          <p15:clr>
            <a:srgbClr val="FBAE40"/>
          </p15:clr>
        </p15:guide>
        <p15:guide id="4" pos="4890" userDrawn="1">
          <p15:clr>
            <a:srgbClr val="FBAE40"/>
          </p15:clr>
        </p15:guide>
        <p15:guide id="5" pos="3448" userDrawn="1">
          <p15:clr>
            <a:srgbClr val="FBAE40"/>
          </p15:clr>
        </p15:guide>
        <p15:guide id="6" pos="1960" userDrawn="1">
          <p15:clr>
            <a:srgbClr val="FBAE40"/>
          </p15:clr>
        </p15:guide>
        <p15:guide id="7" pos="3399" userDrawn="1">
          <p15:clr>
            <a:srgbClr val="FBAE40"/>
          </p15:clr>
        </p15:guide>
        <p15:guide id="8" pos="4933" userDrawn="1">
          <p15:clr>
            <a:srgbClr val="FBAE40"/>
          </p15:clr>
        </p15:guide>
        <p15:guide id="9" orient="horz" pos="1313" userDrawn="1">
          <p15:clr>
            <a:srgbClr val="FBAE40"/>
          </p15:clr>
        </p15:guide>
        <p15:guide id="10" orient="horz" pos="141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057840" y="733193"/>
            <a:ext cx="6056360" cy="28741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619042" y="162073"/>
            <a:ext cx="3072506" cy="3417742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7842" y="162074"/>
            <a:ext cx="6056360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48" userDrawn="1">
          <p15:clr>
            <a:srgbClr val="FBAE40"/>
          </p15:clr>
        </p15:guide>
        <p15:guide id="2" pos="233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747941" y="733193"/>
            <a:ext cx="6055268" cy="28741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7543861" y="162073"/>
            <a:ext cx="3071608" cy="3417742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54533" y="162074"/>
            <a:ext cx="6048687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289" userDrawn="1">
          <p15:clr>
            <a:srgbClr val="FBAE40"/>
          </p15:clr>
        </p15:guide>
        <p15:guide id="2" pos="475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527" y="162074"/>
            <a:ext cx="9350619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621867" y="693443"/>
            <a:ext cx="9993602" cy="2886373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621867" y="162073"/>
            <a:ext cx="9993602" cy="3417742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7" y="1036649"/>
            <a:ext cx="9350619" cy="25431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39390" indent="-239390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478781" indent="-237974">
              <a:buClr>
                <a:schemeClr val="accent2"/>
              </a:buClr>
              <a:defRPr/>
            </a:lvl3pPr>
            <a:lvl4pPr marL="721003" indent="-232308">
              <a:buClr>
                <a:schemeClr val="accent3"/>
              </a:buClr>
              <a:defRPr/>
            </a:lvl4pPr>
            <a:lvl5pPr marL="956144" indent="-225225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527" y="162074"/>
            <a:ext cx="9350619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54527" y="737802"/>
            <a:ext cx="9350619" cy="251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17"/>
              </a:lnSpc>
              <a:defRPr sz="133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527" y="162074"/>
            <a:ext cx="9350619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619040" y="978810"/>
            <a:ext cx="9495689" cy="1518866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1594" tIns="40797" rIns="81594" bIns="40797" numCol="1" anchor="t" anchorCtr="0" compatLnSpc="1">
            <a:prstTxWarp prst="textNoShape">
              <a:avLst/>
            </a:prstTxWarp>
          </a:bodyPr>
          <a:lstStyle/>
          <a:p>
            <a:endParaRPr lang="en-GB" sz="1606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1045931" y="978813"/>
            <a:ext cx="9068268" cy="136739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4105"/>
              </a:lnSpc>
              <a:defRPr sz="4105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3581534"/>
            <a:ext cx="1354714" cy="218225"/>
          </a:xfrm>
          <a:prstGeom prst="rect">
            <a:avLst/>
          </a:prstGeom>
        </p:spPr>
      </p:pic>
      <p:grpSp>
        <p:nvGrpSpPr>
          <p:cNvPr id="36" name="Group 35"/>
          <p:cNvGrpSpPr/>
          <p:nvPr userDrawn="1"/>
        </p:nvGrpSpPr>
        <p:grpSpPr>
          <a:xfrm>
            <a:off x="-1807565" y="3673285"/>
            <a:ext cx="1657262" cy="288694"/>
            <a:chOff x="-2025698" y="6445247"/>
            <a:chExt cx="1857255" cy="417516"/>
          </a:xfrm>
        </p:grpSpPr>
        <p:sp>
          <p:nvSpPr>
            <p:cNvPr id="37" name="Rectangle 104"/>
            <p:cNvSpPr>
              <a:spLocks noChangeArrowheads="1"/>
            </p:cNvSpPr>
            <p:nvPr userDrawn="1"/>
          </p:nvSpPr>
          <p:spPr bwMode="gray">
            <a:xfrm>
              <a:off x="-2025698" y="6445247"/>
              <a:ext cx="1447848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815909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GB" sz="1071" b="1" i="0" u="none" strike="noStrike" kern="0" cap="none" spc="0" normalizeH="0" baseline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GB" sz="1071" b="1" i="0" u="none" strike="noStrike" kern="0" cap="none" spc="0" normalizeH="0" baseline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GB" sz="1071" b="1" i="0" u="none" strike="noStrike" kern="0" cap="none" spc="0" normalizeH="0" baseline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</a:p>
          </p:txBody>
        </p:sp>
        <p:grpSp>
          <p:nvGrpSpPr>
            <p:cNvPr id="38" name="Group 3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39" name="Straight Connector 3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40" name="Straight Connector 3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grpSp>
        <p:nvGrpSpPr>
          <p:cNvPr id="58" name="Group 57"/>
          <p:cNvGrpSpPr/>
          <p:nvPr userDrawn="1"/>
        </p:nvGrpSpPr>
        <p:grpSpPr>
          <a:xfrm>
            <a:off x="-1816022" y="3"/>
            <a:ext cx="1678875" cy="2988265"/>
            <a:chOff x="-2035175" y="0"/>
            <a:chExt cx="1881477" cy="5176145"/>
          </a:xfrm>
        </p:grpSpPr>
        <p:sp>
          <p:nvSpPr>
            <p:cNvPr id="59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60" name="Group 59"/>
            <p:cNvGrpSpPr/>
            <p:nvPr userDrawn="1"/>
          </p:nvGrpSpPr>
          <p:grpSpPr>
            <a:xfrm>
              <a:off x="-2035175" y="0"/>
              <a:ext cx="1872000" cy="5176145"/>
              <a:chOff x="-2035175" y="0"/>
              <a:chExt cx="1872000" cy="5730106"/>
            </a:xfrm>
          </p:grpSpPr>
          <p:sp>
            <p:nvSpPr>
              <p:cNvPr id="61" name="Rectangle 104"/>
              <p:cNvSpPr>
                <a:spLocks noChangeArrowheads="1"/>
              </p:cNvSpPr>
              <p:nvPr/>
            </p:nvSpPr>
            <p:spPr bwMode="gray">
              <a:xfrm>
                <a:off x="-2035175" y="4672569"/>
                <a:ext cx="1872000" cy="1057537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3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4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65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6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67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8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69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0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71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72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3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84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5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86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7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88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9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90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1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95" name="Picture 94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96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7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8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9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100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101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102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754527" y="738032"/>
            <a:ext cx="9350619" cy="28417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9390" indent="-239390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480197" indent="-239390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718170" indent="-237974">
              <a:buClr>
                <a:schemeClr val="accent3"/>
              </a:buClr>
              <a:defRPr/>
            </a:lvl3pPr>
            <a:lvl4pPr marL="961810" indent="-232308">
              <a:buClr>
                <a:schemeClr val="accent4"/>
              </a:buClr>
              <a:defRPr/>
            </a:lvl4pPr>
            <a:lvl5pPr marL="1196951" indent="-225225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527" y="162074"/>
            <a:ext cx="9350619" cy="49307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47947" y="3751396"/>
            <a:ext cx="441965" cy="108604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5" y="948646"/>
            <a:ext cx="5272991" cy="175827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751724" y="1161727"/>
            <a:ext cx="4352697" cy="84380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3391"/>
              </a:lnSpc>
              <a:defRPr sz="3391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4" y="2327435"/>
            <a:ext cx="4352697" cy="17712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517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724" y="2080345"/>
            <a:ext cx="4352697" cy="167832"/>
          </a:xfrm>
          <a:prstGeom prst="rect">
            <a:avLst/>
          </a:prstGeom>
        </p:spPr>
        <p:txBody>
          <a:bodyPr bIns="0">
            <a:noAutofit/>
          </a:bodyPr>
          <a:lstStyle>
            <a:lvl1pPr algn="l">
              <a:lnSpc>
                <a:spcPts val="1517"/>
              </a:lnSpc>
              <a:defRPr sz="151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7" y="3478254"/>
            <a:ext cx="10877526" cy="480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47941" y="3495756"/>
            <a:ext cx="1959530" cy="290967"/>
          </a:xfrm>
          <a:prstGeom prst="rect">
            <a:avLst/>
          </a:prstGeom>
        </p:spPr>
        <p:txBody>
          <a:bodyPr lIns="0" anchor="ctr" anchorCtr="0"/>
          <a:lstStyle>
            <a:lvl1pPr algn="l">
              <a:lnSpc>
                <a:spcPct val="100000"/>
              </a:lnSpc>
              <a:defRPr sz="803" b="0"/>
            </a:lvl1pPr>
          </a:lstStyle>
          <a:p>
            <a:r>
              <a:rPr lang="en-GB" dirty="0"/>
              <a:t>Click to insert project logo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3581534"/>
            <a:ext cx="1354714" cy="218225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690473" y="4014214"/>
            <a:ext cx="0" cy="2078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80730" y="3579798"/>
            <a:ext cx="3212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076737" y="4052729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en-GB" sz="892"/>
              <a:t>Max.</a:t>
            </a:r>
            <a:r>
              <a:rPr lang="en-GB" sz="892" baseline="0"/>
              <a:t> width</a:t>
            </a:r>
            <a:endParaRPr lang="en-GB" sz="892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344434" y="3617859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r"/>
            <a:r>
              <a:rPr lang="en-GB" sz="892"/>
              <a:t>Max.</a:t>
            </a:r>
            <a:r>
              <a:rPr lang="en-GB" sz="892" baseline="0"/>
              <a:t> height</a:t>
            </a:r>
            <a:endParaRPr lang="en-GB" sz="892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747941" y="4014214"/>
            <a:ext cx="0" cy="207833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80730" y="3786723"/>
            <a:ext cx="321234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51720" y="2529735"/>
            <a:ext cx="4352726" cy="124700"/>
          </a:xfrm>
          <a:prstGeom prst="rect">
            <a:avLst/>
          </a:prstGeom>
        </p:spPr>
        <p:txBody>
          <a:bodyPr tIns="0" bIns="0"/>
          <a:lstStyle>
            <a:lvl1pPr marL="0" indent="0" algn="l">
              <a:lnSpc>
                <a:spcPts val="1205"/>
              </a:lnSpc>
              <a:buNone/>
              <a:defRPr sz="1205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834" y="4"/>
            <a:ext cx="10881971" cy="3478252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-1816022" y="3"/>
            <a:ext cx="1678875" cy="2988265"/>
            <a:chOff x="-2035175" y="0"/>
            <a:chExt cx="1881477" cy="5176146"/>
          </a:xfrm>
        </p:grpSpPr>
        <p:sp>
          <p:nvSpPr>
            <p:cNvPr id="53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54" name="Group 53"/>
            <p:cNvGrpSpPr/>
            <p:nvPr userDrawn="1"/>
          </p:nvGrpSpPr>
          <p:grpSpPr>
            <a:xfrm>
              <a:off x="-2035175" y="0"/>
              <a:ext cx="1872000" cy="5176146"/>
              <a:chOff x="-2035175" y="0"/>
              <a:chExt cx="1872000" cy="5730107"/>
            </a:xfrm>
          </p:grpSpPr>
          <p:sp>
            <p:nvSpPr>
              <p:cNvPr id="55" name="Rectangle 104"/>
              <p:cNvSpPr>
                <a:spLocks noChangeArrowheads="1"/>
              </p:cNvSpPr>
              <p:nvPr/>
            </p:nvSpPr>
            <p:spPr bwMode="gray">
              <a:xfrm>
                <a:off x="-2035175" y="4686980"/>
                <a:ext cx="1872000" cy="1043127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6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7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8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59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0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61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63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4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69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70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1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72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3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74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5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76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7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78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9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80" name="Picture 79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81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2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83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4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85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8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104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1" y="948643"/>
            <a:ext cx="10118449" cy="1764239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7" y="3478254"/>
            <a:ext cx="10877526" cy="480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751730" y="1222063"/>
            <a:ext cx="9202659" cy="70869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4105"/>
              </a:lnSpc>
              <a:defRPr sz="4105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4" y="2448223"/>
            <a:ext cx="6320048" cy="17712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785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698" y="2053398"/>
            <a:ext cx="9195937" cy="222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963"/>
              </a:lnSpc>
              <a:defRPr sz="196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47941" y="3026323"/>
            <a:ext cx="1959530" cy="760402"/>
          </a:xfrm>
          <a:prstGeom prst="rect">
            <a:avLst/>
          </a:prstGeom>
        </p:spPr>
        <p:txBody>
          <a:bodyPr lIns="0" anchor="ctr" anchorCtr="0"/>
          <a:lstStyle>
            <a:lvl1pPr algn="l">
              <a:lnSpc>
                <a:spcPct val="100000"/>
              </a:lnSpc>
              <a:defRPr sz="803" b="0"/>
            </a:lvl1pPr>
          </a:lstStyle>
          <a:p>
            <a:r>
              <a:rPr lang="en-GB" dirty="0"/>
              <a:t>Click to insert project logo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3581534"/>
            <a:ext cx="1354714" cy="218225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690473" y="4014214"/>
            <a:ext cx="0" cy="2078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80730" y="3579798"/>
            <a:ext cx="32123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076737" y="4052729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en-GB" sz="892"/>
              <a:t>Max.</a:t>
            </a:r>
            <a:r>
              <a:rPr lang="en-GB" sz="892" baseline="0"/>
              <a:t> width</a:t>
            </a:r>
            <a:endParaRPr lang="en-GB" sz="892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344434" y="3617859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r"/>
            <a:r>
              <a:rPr lang="en-GB" sz="892"/>
              <a:t>Min.</a:t>
            </a:r>
            <a:r>
              <a:rPr lang="en-GB" sz="892" baseline="0"/>
              <a:t> height</a:t>
            </a:r>
            <a:endParaRPr lang="en-GB" sz="892"/>
          </a:p>
        </p:txBody>
      </p:sp>
      <p:sp>
        <p:nvSpPr>
          <p:cNvPr id="32" name="TextBox 31"/>
          <p:cNvSpPr txBox="1"/>
          <p:nvPr userDrawn="1"/>
        </p:nvSpPr>
        <p:spPr>
          <a:xfrm>
            <a:off x="-1344434" y="3058109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r"/>
            <a:r>
              <a:rPr lang="en-GB" sz="892"/>
              <a:t>Max.</a:t>
            </a:r>
            <a:r>
              <a:rPr lang="en-GB" sz="892" baseline="0"/>
              <a:t> height</a:t>
            </a:r>
            <a:endParaRPr lang="en-GB" sz="892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747941" y="4014214"/>
            <a:ext cx="0" cy="207833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80730" y="3786723"/>
            <a:ext cx="321234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88138" y="2477553"/>
            <a:ext cx="2666245" cy="159115"/>
          </a:xfrm>
          <a:prstGeom prst="rect">
            <a:avLst/>
          </a:prstGeo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338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9591678" y="-76837"/>
            <a:ext cx="1285854" cy="903593"/>
            <a:chOff x="5364088" y="4720073"/>
            <a:chExt cx="1441027" cy="1565166"/>
          </a:xfrm>
        </p:grpSpPr>
        <p:sp>
          <p:nvSpPr>
            <p:cNvPr id="5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19050">
              <a:solidFill>
                <a:srgbClr val="60A6DA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55"/>
            </a:p>
          </p:txBody>
        </p:sp>
        <p:sp>
          <p:nvSpPr>
            <p:cNvPr id="80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GB" sz="1428" noProof="0" dirty="0"/>
                <a:t>Confidential</a:t>
              </a: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>
            <a:off x="-1816022" y="3"/>
            <a:ext cx="1678875" cy="2988265"/>
            <a:chOff x="-2035175" y="0"/>
            <a:chExt cx="1881477" cy="5176145"/>
          </a:xfrm>
        </p:grpSpPr>
        <p:sp>
          <p:nvSpPr>
            <p:cNvPr id="54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55" name="Group 54"/>
            <p:cNvGrpSpPr/>
            <p:nvPr userDrawn="1"/>
          </p:nvGrpSpPr>
          <p:grpSpPr>
            <a:xfrm>
              <a:off x="-2035175" y="0"/>
              <a:ext cx="1872000" cy="5176145"/>
              <a:chOff x="-2035175" y="0"/>
              <a:chExt cx="1872000" cy="5730106"/>
            </a:xfrm>
          </p:grpSpPr>
          <p:sp>
            <p:nvSpPr>
              <p:cNvPr id="81" name="Rectangle 104"/>
              <p:cNvSpPr>
                <a:spLocks noChangeArrowheads="1"/>
              </p:cNvSpPr>
              <p:nvPr/>
            </p:nvSpPr>
            <p:spPr bwMode="gray">
              <a:xfrm>
                <a:off x="-2035175" y="4672310"/>
                <a:ext cx="1872000" cy="1057796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2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3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4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85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6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87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8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89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0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91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92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3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94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5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96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9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100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01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108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09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110" name="Picture 109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111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12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113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114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115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11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117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8" userDrawn="1">
          <p15:clr>
            <a:srgbClr val="FBAE40"/>
          </p15:clr>
        </p15:guide>
        <p15:guide id="2" orient="horz" pos="190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5" y="948646"/>
            <a:ext cx="5272991" cy="175827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751724" y="1161727"/>
            <a:ext cx="4352697" cy="84380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3391"/>
              </a:lnSpc>
              <a:defRPr sz="3391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4" y="2327435"/>
            <a:ext cx="4352697" cy="17712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517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724" y="2080345"/>
            <a:ext cx="4352697" cy="167832"/>
          </a:xfrm>
          <a:prstGeom prst="rect">
            <a:avLst/>
          </a:prstGeom>
        </p:spPr>
        <p:txBody>
          <a:bodyPr bIns="0">
            <a:noAutofit/>
          </a:bodyPr>
          <a:lstStyle>
            <a:lvl1pPr algn="l">
              <a:lnSpc>
                <a:spcPts val="1517"/>
              </a:lnSpc>
              <a:defRPr sz="151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7" y="3478254"/>
            <a:ext cx="10877526" cy="480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47941" y="3495756"/>
            <a:ext cx="1959530" cy="290967"/>
          </a:xfrm>
          <a:prstGeom prst="rect">
            <a:avLst/>
          </a:prstGeom>
        </p:spPr>
        <p:txBody>
          <a:bodyPr lIns="0" anchor="ctr" anchorCtr="0"/>
          <a:lstStyle>
            <a:lvl1pPr algn="l">
              <a:lnSpc>
                <a:spcPct val="100000"/>
              </a:lnSpc>
              <a:defRPr sz="803" b="0"/>
            </a:lvl1pPr>
          </a:lstStyle>
          <a:p>
            <a:r>
              <a:rPr lang="en-GB" dirty="0"/>
              <a:t>Click to insert project logo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3581534"/>
            <a:ext cx="1354714" cy="218225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690473" y="4014214"/>
            <a:ext cx="0" cy="2078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80730" y="3579798"/>
            <a:ext cx="3212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1076737" y="4052729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ctr"/>
            <a:r>
              <a:rPr lang="en-GB" sz="892"/>
              <a:t>Max.</a:t>
            </a:r>
            <a:r>
              <a:rPr lang="en-GB" sz="892" baseline="0"/>
              <a:t> width</a:t>
            </a:r>
            <a:endParaRPr lang="en-GB" sz="892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344434" y="3617859"/>
            <a:ext cx="1284938" cy="202155"/>
          </a:xfrm>
          <a:prstGeom prst="rect">
            <a:avLst/>
          </a:prstGeom>
          <a:noFill/>
        </p:spPr>
        <p:txBody>
          <a:bodyPr wrap="square" lIns="32123" tIns="32123" rIns="32123" bIns="32123" rtlCol="0">
            <a:spAutoFit/>
          </a:bodyPr>
          <a:lstStyle/>
          <a:p>
            <a:pPr algn="r"/>
            <a:r>
              <a:rPr lang="en-GB" sz="892"/>
              <a:t>Max.</a:t>
            </a:r>
            <a:r>
              <a:rPr lang="en-GB" sz="892" baseline="0"/>
              <a:t> height</a:t>
            </a:r>
            <a:endParaRPr lang="en-GB" sz="892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747941" y="4014214"/>
            <a:ext cx="0" cy="207833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80730" y="3786723"/>
            <a:ext cx="321234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51720" y="2529735"/>
            <a:ext cx="4352726" cy="124700"/>
          </a:xfrm>
          <a:prstGeom prst="rect">
            <a:avLst/>
          </a:prstGeom>
        </p:spPr>
        <p:txBody>
          <a:bodyPr tIns="0" bIns="0"/>
          <a:lstStyle>
            <a:lvl1pPr marL="0" indent="0" algn="l">
              <a:lnSpc>
                <a:spcPts val="1205"/>
              </a:lnSpc>
              <a:buNone/>
              <a:defRPr sz="1205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9591678" y="-76837"/>
            <a:ext cx="1285854" cy="903593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19050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55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GB" sz="1428" noProof="0" dirty="0"/>
                <a:t>Confidential</a:t>
              </a: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834" y="4"/>
            <a:ext cx="10881971" cy="3478252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-1816022" y="3"/>
            <a:ext cx="1678875" cy="2988265"/>
            <a:chOff x="-2035175" y="0"/>
            <a:chExt cx="1881477" cy="5176146"/>
          </a:xfrm>
        </p:grpSpPr>
        <p:sp>
          <p:nvSpPr>
            <p:cNvPr id="53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55" name="Group 54"/>
            <p:cNvGrpSpPr/>
            <p:nvPr userDrawn="1"/>
          </p:nvGrpSpPr>
          <p:grpSpPr>
            <a:xfrm>
              <a:off x="-2035175" y="0"/>
              <a:ext cx="1872000" cy="5176146"/>
              <a:chOff x="-2035175" y="0"/>
              <a:chExt cx="1872000" cy="5730107"/>
            </a:xfrm>
          </p:grpSpPr>
          <p:sp>
            <p:nvSpPr>
              <p:cNvPr id="56" name="Rectangle 104"/>
              <p:cNvSpPr>
                <a:spLocks noChangeArrowheads="1"/>
              </p:cNvSpPr>
              <p:nvPr/>
            </p:nvSpPr>
            <p:spPr bwMode="gray">
              <a:xfrm>
                <a:off x="-2035175" y="4679072"/>
                <a:ext cx="1872000" cy="1051035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7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8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9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60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1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62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3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64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5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6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67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8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69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0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71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2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73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4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75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6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77" name="Picture 76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78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9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82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3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84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8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87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1" y="948643"/>
            <a:ext cx="10118449" cy="1764239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7" y="3478254"/>
            <a:ext cx="10877526" cy="480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751730" y="1222063"/>
            <a:ext cx="9202659" cy="70869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4105"/>
              </a:lnSpc>
              <a:defRPr sz="4105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4" y="2448223"/>
            <a:ext cx="6320048" cy="17712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785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698" y="2053398"/>
            <a:ext cx="9195937" cy="2224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963"/>
              </a:lnSpc>
              <a:defRPr sz="196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3581534"/>
            <a:ext cx="1354714" cy="218225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88138" y="2477553"/>
            <a:ext cx="2666245" cy="159115"/>
          </a:xfrm>
          <a:prstGeom prst="rect">
            <a:avLst/>
          </a:prstGeo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338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-1816022" y="3"/>
            <a:ext cx="1678875" cy="2988265"/>
            <a:chOff x="-2035175" y="0"/>
            <a:chExt cx="1881477" cy="5176145"/>
          </a:xfrm>
        </p:grpSpPr>
        <p:sp>
          <p:nvSpPr>
            <p:cNvPr id="43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45" name="Group 44"/>
            <p:cNvGrpSpPr/>
            <p:nvPr userDrawn="1"/>
          </p:nvGrpSpPr>
          <p:grpSpPr>
            <a:xfrm>
              <a:off x="-2035175" y="0"/>
              <a:ext cx="1872000" cy="5176145"/>
              <a:chOff x="-2035175" y="0"/>
              <a:chExt cx="1872000" cy="5730106"/>
            </a:xfrm>
          </p:grpSpPr>
          <p:sp>
            <p:nvSpPr>
              <p:cNvPr id="46" name="Rectangle 104"/>
              <p:cNvSpPr>
                <a:spLocks noChangeArrowheads="1"/>
              </p:cNvSpPr>
              <p:nvPr/>
            </p:nvSpPr>
            <p:spPr bwMode="gray">
              <a:xfrm>
                <a:off x="-2035175" y="4673798"/>
                <a:ext cx="1872000" cy="1056308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7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8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9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50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1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52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3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54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5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5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57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8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59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0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61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63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4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65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4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85" name="Picture 84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88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9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0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1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2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93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94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  <p:pic>
        <p:nvPicPr>
          <p:cNvPr id="66" name="Picture 6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9288" y="3507858"/>
            <a:ext cx="2277290" cy="442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5" y="948646"/>
            <a:ext cx="5272991" cy="175827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6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751724" y="1161727"/>
            <a:ext cx="4352697" cy="84380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3391"/>
              </a:lnSpc>
              <a:defRPr sz="3391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751724" y="2327435"/>
            <a:ext cx="4352697" cy="17712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lnSpc>
                <a:spcPts val="1963"/>
              </a:lnSpc>
              <a:buNone/>
              <a:defRPr sz="1517" b="0" i="0"/>
            </a:lvl1pPr>
            <a:lvl2pPr marL="407944" indent="0" algn="ctr">
              <a:buNone/>
              <a:defRPr sz="1785"/>
            </a:lvl2pPr>
            <a:lvl3pPr marL="815889" indent="0" algn="ctr">
              <a:buNone/>
              <a:defRPr sz="1606"/>
            </a:lvl3pPr>
            <a:lvl4pPr marL="1223833" indent="0" algn="ctr">
              <a:buNone/>
              <a:defRPr sz="1428"/>
            </a:lvl4pPr>
            <a:lvl5pPr marL="1631778" indent="0" algn="ctr">
              <a:buNone/>
              <a:defRPr sz="1428"/>
            </a:lvl5pPr>
            <a:lvl6pPr marL="2039722" indent="0" algn="ctr">
              <a:buNone/>
              <a:defRPr sz="1428"/>
            </a:lvl6pPr>
            <a:lvl7pPr marL="2447665" indent="0" algn="ctr">
              <a:buNone/>
              <a:defRPr sz="1428"/>
            </a:lvl7pPr>
            <a:lvl8pPr marL="2855610" indent="0" algn="ctr">
              <a:buNone/>
              <a:defRPr sz="1428"/>
            </a:lvl8pPr>
            <a:lvl9pPr marL="3263555" indent="0" algn="ctr">
              <a:buNone/>
              <a:defRPr sz="1428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751724" y="2080345"/>
            <a:ext cx="4352697" cy="167832"/>
          </a:xfrm>
          <a:prstGeom prst="rect">
            <a:avLst/>
          </a:prstGeom>
        </p:spPr>
        <p:txBody>
          <a:bodyPr bIns="0">
            <a:noAutofit/>
          </a:bodyPr>
          <a:lstStyle>
            <a:lvl1pPr algn="l">
              <a:lnSpc>
                <a:spcPts val="1517"/>
              </a:lnSpc>
              <a:defRPr sz="151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7" y="3478254"/>
            <a:ext cx="10877526" cy="480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42" noProof="0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166" y="3581534"/>
            <a:ext cx="1354714" cy="218225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51720" y="2529735"/>
            <a:ext cx="4352726" cy="124700"/>
          </a:xfrm>
          <a:prstGeom prst="rect">
            <a:avLst/>
          </a:prstGeom>
        </p:spPr>
        <p:txBody>
          <a:bodyPr tIns="0" bIns="0"/>
          <a:lstStyle>
            <a:lvl1pPr marL="0" indent="0" algn="l">
              <a:lnSpc>
                <a:spcPts val="1205"/>
              </a:lnSpc>
              <a:buNone/>
              <a:defRPr sz="1205">
                <a:solidFill>
                  <a:srgbClr val="000000"/>
                </a:solidFill>
                <a:latin typeface="+mn-lt"/>
              </a:defRPr>
            </a:lvl1pPr>
            <a:lvl2pPr>
              <a:defRPr sz="1963">
                <a:solidFill>
                  <a:srgbClr val="000000"/>
                </a:solidFill>
              </a:defRPr>
            </a:lvl2pPr>
            <a:lvl3pPr>
              <a:defRPr sz="1963">
                <a:solidFill>
                  <a:srgbClr val="000000"/>
                </a:solidFill>
              </a:defRPr>
            </a:lvl3pPr>
            <a:lvl4pPr>
              <a:defRPr sz="1963">
                <a:solidFill>
                  <a:srgbClr val="000000"/>
                </a:solidFill>
              </a:defRPr>
            </a:lvl4pPr>
            <a:lvl5pPr>
              <a:defRPr sz="1963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834" y="4"/>
            <a:ext cx="10881971" cy="3478252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249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43" name="Group 42"/>
          <p:cNvGrpSpPr/>
          <p:nvPr userDrawn="1"/>
        </p:nvGrpSpPr>
        <p:grpSpPr>
          <a:xfrm>
            <a:off x="-1816022" y="1"/>
            <a:ext cx="1678875" cy="2988267"/>
            <a:chOff x="-2035175" y="0"/>
            <a:chExt cx="1881477" cy="5176147"/>
          </a:xfrm>
        </p:grpSpPr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45" name="Group 44"/>
            <p:cNvGrpSpPr/>
            <p:nvPr userDrawn="1"/>
          </p:nvGrpSpPr>
          <p:grpSpPr>
            <a:xfrm>
              <a:off x="-2035175" y="0"/>
              <a:ext cx="1872000" cy="5176147"/>
              <a:chOff x="-2035175" y="0"/>
              <a:chExt cx="1872000" cy="5730108"/>
            </a:xfrm>
          </p:grpSpPr>
          <p:sp>
            <p:nvSpPr>
              <p:cNvPr id="46" name="Rectangle 104"/>
              <p:cNvSpPr>
                <a:spLocks noChangeArrowheads="1"/>
              </p:cNvSpPr>
              <p:nvPr/>
            </p:nvSpPr>
            <p:spPr bwMode="gray">
              <a:xfrm>
                <a:off x="-2035175" y="4653097"/>
                <a:ext cx="1872000" cy="107701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7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8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49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50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1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52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3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54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5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5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57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8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59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0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61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63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5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86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0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91" name="Picture 90"/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92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3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94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95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96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97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98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  <p:pic>
        <p:nvPicPr>
          <p:cNvPr id="64" name="Picture 6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9288" y="3507858"/>
            <a:ext cx="2277290" cy="442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47603580"/>
              </p:ext>
            </p:extLst>
          </p:nvPr>
        </p:nvGraphicFramePr>
        <p:xfrm>
          <a:off x="1422" y="918"/>
          <a:ext cx="1416" cy="9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36" imgW="216" imgH="216" progId="TCLayout.ActiveDocument.1">
                  <p:embed/>
                </p:oleObj>
              </mc:Choice>
              <mc:Fallback>
                <p:oleObj name="think-cell Slide" r:id="rId3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422" y="918"/>
                        <a:ext cx="1416" cy="9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oup 45"/>
          <p:cNvGrpSpPr/>
          <p:nvPr userDrawn="1"/>
        </p:nvGrpSpPr>
        <p:grpSpPr>
          <a:xfrm>
            <a:off x="-1807565" y="3673285"/>
            <a:ext cx="1657262" cy="288694"/>
            <a:chOff x="-2025698" y="6445247"/>
            <a:chExt cx="1857255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25698" y="6445247"/>
              <a:ext cx="1447848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815909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GB" sz="1071" b="1" i="0" u="none" strike="noStrike" kern="0" cap="none" spc="0" normalizeH="0" baseline="0" noProof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GB" sz="1071" b="1" i="0" u="none" strike="noStrike" kern="0" cap="none" spc="0" normalizeH="0" baseline="0" noProof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GB" sz="1071" b="1" i="0" u="none" strike="noStrike" kern="0" cap="none" spc="0" normalizeH="0" baseline="0" noProof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grpSp>
        <p:nvGrpSpPr>
          <p:cNvPr id="6" name="Group 5"/>
          <p:cNvGrpSpPr/>
          <p:nvPr userDrawn="1"/>
        </p:nvGrpSpPr>
        <p:grpSpPr>
          <a:xfrm>
            <a:off x="-1816022" y="3"/>
            <a:ext cx="1678875" cy="2988265"/>
            <a:chOff x="-2035175" y="0"/>
            <a:chExt cx="1881477" cy="5176145"/>
          </a:xfrm>
        </p:grpSpPr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025698" y="0"/>
              <a:ext cx="1872000" cy="5176145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892" noProof="0" dirty="0"/>
            </a:p>
          </p:txBody>
        </p:sp>
        <p:grpSp>
          <p:nvGrpSpPr>
            <p:cNvPr id="54" name="Group 53"/>
            <p:cNvGrpSpPr/>
            <p:nvPr userDrawn="1"/>
          </p:nvGrpSpPr>
          <p:grpSpPr>
            <a:xfrm>
              <a:off x="-2035175" y="0"/>
              <a:ext cx="1872000" cy="5176145"/>
              <a:chOff x="-2035175" y="0"/>
              <a:chExt cx="1872000" cy="5730106"/>
            </a:xfrm>
          </p:grpSpPr>
          <p:sp>
            <p:nvSpPr>
              <p:cNvPr id="55" name="Rectangle 104"/>
              <p:cNvSpPr>
                <a:spLocks noChangeArrowheads="1"/>
              </p:cNvSpPr>
              <p:nvPr/>
            </p:nvSpPr>
            <p:spPr bwMode="gray">
              <a:xfrm>
                <a:off x="-2035175" y="4672569"/>
                <a:ext cx="1872000" cy="1057537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6" name="Rectangle 104"/>
              <p:cNvSpPr>
                <a:spLocks noChangeArrowheads="1"/>
              </p:cNvSpPr>
              <p:nvPr userDrawn="1"/>
            </p:nvSpPr>
            <p:spPr bwMode="gray">
              <a:xfrm>
                <a:off x="-2035175" y="0"/>
                <a:ext cx="1872000" cy="4709801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ffectLst/>
            </p:spPr>
            <p:txBody>
              <a:bodyPr wrap="square" lIns="180000" tIns="180000" rIns="180000" bIns="180000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7" name="Rectangle 105"/>
              <p:cNvSpPr>
                <a:spLocks noChangeArrowheads="1"/>
              </p:cNvSpPr>
              <p:nvPr userDrawn="1"/>
            </p:nvSpPr>
            <p:spPr bwMode="gray">
              <a:xfrm>
                <a:off x="-1903413" y="665771"/>
                <a:ext cx="215900" cy="2159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58" name="Rectangle 106"/>
              <p:cNvSpPr>
                <a:spLocks noChangeArrowheads="1"/>
              </p:cNvSpPr>
              <p:nvPr userDrawn="1"/>
            </p:nvSpPr>
            <p:spPr bwMode="gray">
              <a:xfrm>
                <a:off x="-1612900" y="67529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Orang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98, 0</a:t>
                </a:r>
              </a:p>
            </p:txBody>
          </p:sp>
          <p:sp>
            <p:nvSpPr>
              <p:cNvPr id="59" name="Rectangle 107"/>
              <p:cNvSpPr>
                <a:spLocks noChangeArrowheads="1"/>
              </p:cNvSpPr>
              <p:nvPr userDrawn="1"/>
            </p:nvSpPr>
            <p:spPr bwMode="gray">
              <a:xfrm>
                <a:off x="-1903413" y="1055027"/>
                <a:ext cx="215900" cy="215900"/>
              </a:xfrm>
              <a:prstGeom prst="rect">
                <a:avLst/>
              </a:prstGeom>
              <a:solidFill>
                <a:srgbClr val="A8A8A8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0" name="Rectangle 108"/>
              <p:cNvSpPr>
                <a:spLocks noChangeArrowheads="1"/>
              </p:cNvSpPr>
              <p:nvPr userDrawn="1"/>
            </p:nvSpPr>
            <p:spPr bwMode="gray">
              <a:xfrm>
                <a:off x="-1612900" y="1080427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ght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68, 168, 168</a:t>
                </a:r>
              </a:p>
            </p:txBody>
          </p:sp>
          <p:sp>
            <p:nvSpPr>
              <p:cNvPr id="61" name="Rectangle 109"/>
              <p:cNvSpPr>
                <a:spLocks noChangeArrowheads="1"/>
              </p:cNvSpPr>
              <p:nvPr userDrawn="1"/>
            </p:nvSpPr>
            <p:spPr bwMode="gray">
              <a:xfrm>
                <a:off x="-1903413" y="2583180"/>
                <a:ext cx="215900" cy="215900"/>
              </a:xfrm>
              <a:prstGeom prst="rect">
                <a:avLst/>
              </a:prstGeom>
              <a:solidFill>
                <a:srgbClr val="52519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2" name="Rectangle 110"/>
              <p:cNvSpPr>
                <a:spLocks noChangeArrowheads="1"/>
              </p:cNvSpPr>
              <p:nvPr userDrawn="1"/>
            </p:nvSpPr>
            <p:spPr bwMode="gray">
              <a:xfrm>
                <a:off x="-1612900" y="25927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Indigo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82, 81, 153</a:t>
                </a:r>
              </a:p>
            </p:txBody>
          </p:sp>
          <p:sp>
            <p:nvSpPr>
              <p:cNvPr id="63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3009234"/>
                <a:ext cx="215900" cy="215900"/>
              </a:xfrm>
              <a:prstGeom prst="rect">
                <a:avLst/>
              </a:prstGeom>
              <a:solidFill>
                <a:srgbClr val="60A6DA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4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300923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Sk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96, 166, 218</a:t>
                </a:r>
              </a:p>
            </p:txBody>
          </p:sp>
          <p:sp>
            <p:nvSpPr>
              <p:cNvPr id="65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166884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1071" b="1" dirty="0">
                    <a:solidFill>
                      <a:srgbClr val="333333"/>
                    </a:solidFill>
                  </a:rPr>
                  <a:t>Colour guidelines</a:t>
                </a:r>
              </a:p>
            </p:txBody>
          </p:sp>
          <p:sp>
            <p:nvSpPr>
              <p:cNvPr id="66" name="Rectangle 107"/>
              <p:cNvSpPr>
                <a:spLocks noChangeArrowheads="1"/>
              </p:cNvSpPr>
              <p:nvPr/>
            </p:nvSpPr>
            <p:spPr bwMode="gray">
              <a:xfrm>
                <a:off x="-1903413" y="3435288"/>
                <a:ext cx="215900" cy="215900"/>
              </a:xfrm>
              <a:prstGeom prst="rect">
                <a:avLst/>
              </a:prstGeom>
              <a:solidFill>
                <a:srgbClr val="AB0066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7" name="Rectangle 108"/>
              <p:cNvSpPr>
                <a:spLocks noChangeArrowheads="1"/>
              </p:cNvSpPr>
              <p:nvPr/>
            </p:nvSpPr>
            <p:spPr bwMode="gray">
              <a:xfrm>
                <a:off x="-1612900" y="3434952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Fuchsia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71, 0, 102</a:t>
                </a:r>
              </a:p>
            </p:txBody>
          </p:sp>
          <p:sp>
            <p:nvSpPr>
              <p:cNvPr id="68" name="Rectangle 109"/>
              <p:cNvSpPr>
                <a:spLocks noChangeArrowheads="1"/>
              </p:cNvSpPr>
              <p:nvPr/>
            </p:nvSpPr>
            <p:spPr bwMode="gray">
              <a:xfrm>
                <a:off x="-1903413" y="3853390"/>
                <a:ext cx="215900" cy="215900"/>
              </a:xfrm>
              <a:prstGeom prst="rect">
                <a:avLst/>
              </a:prstGeom>
              <a:solidFill>
                <a:srgbClr val="D0D93C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69" name="Rectangle 110"/>
              <p:cNvSpPr>
                <a:spLocks noChangeArrowheads="1"/>
              </p:cNvSpPr>
              <p:nvPr/>
            </p:nvSpPr>
            <p:spPr bwMode="gray">
              <a:xfrm>
                <a:off x="-1612900" y="385218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ime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08, 217, 60</a:t>
                </a:r>
              </a:p>
            </p:txBody>
          </p:sp>
          <p:sp>
            <p:nvSpPr>
              <p:cNvPr id="70" name="Rectangle 111"/>
              <p:cNvSpPr>
                <a:spLocks noChangeArrowheads="1"/>
              </p:cNvSpPr>
              <p:nvPr/>
            </p:nvSpPr>
            <p:spPr bwMode="gray">
              <a:xfrm>
                <a:off x="-1903413" y="4247638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1" name="Rectangle 112"/>
              <p:cNvSpPr>
                <a:spLocks noChangeArrowheads="1"/>
              </p:cNvSpPr>
              <p:nvPr/>
            </p:nvSpPr>
            <p:spPr bwMode="gray">
              <a:xfrm>
                <a:off x="-1612900" y="4252640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Leaf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72" name="Rectangle 109"/>
              <p:cNvSpPr>
                <a:spLocks noChangeArrowheads="1"/>
              </p:cNvSpPr>
              <p:nvPr/>
            </p:nvSpPr>
            <p:spPr bwMode="gray">
              <a:xfrm>
                <a:off x="-1903413" y="1489280"/>
                <a:ext cx="215900" cy="215900"/>
              </a:xfrm>
              <a:prstGeom prst="rect">
                <a:avLst/>
              </a:prstGeom>
              <a:solidFill>
                <a:srgbClr val="69696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3" name="Rectangle 110"/>
              <p:cNvSpPr>
                <a:spLocks noChangeArrowheads="1"/>
              </p:cNvSpPr>
              <p:nvPr/>
            </p:nvSpPr>
            <p:spPr bwMode="gray">
              <a:xfrm>
                <a:off x="-1612900" y="149880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d Grey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105, 105, 105</a:t>
                </a:r>
              </a:p>
            </p:txBody>
          </p:sp>
          <p:sp>
            <p:nvSpPr>
              <p:cNvPr id="74" name="Rectangle 111"/>
              <p:cNvSpPr>
                <a:spLocks noChangeArrowheads="1"/>
              </p:cNvSpPr>
              <p:nvPr/>
            </p:nvSpPr>
            <p:spPr bwMode="gray">
              <a:xfrm>
                <a:off x="-1903413" y="1895419"/>
                <a:ext cx="215900" cy="215900"/>
              </a:xfrm>
              <a:prstGeom prst="rect">
                <a:avLst/>
              </a:prstGeom>
              <a:solidFill>
                <a:srgbClr val="333333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5" name="Rectangle 112"/>
              <p:cNvSpPr>
                <a:spLocks noChangeArrowheads="1"/>
              </p:cNvSpPr>
              <p:nvPr/>
            </p:nvSpPr>
            <p:spPr bwMode="gray">
              <a:xfrm>
                <a:off x="-1612900" y="1904944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Text Colour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1, 51, 51</a:t>
                </a:r>
              </a:p>
            </p:txBody>
          </p:sp>
          <p:pic>
            <p:nvPicPr>
              <p:cNvPr id="76" name="Picture 75"/>
              <p:cNvPicPr>
                <a:picLocks noChangeAspect="1"/>
              </p:cNvPicPr>
              <p:nvPr userDrawn="1"/>
            </p:nvPicPr>
            <p:blipFill>
              <a:blip r:embed="rId3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804990" y="2022815"/>
                <a:ext cx="154783" cy="138908"/>
              </a:xfrm>
              <a:prstGeom prst="rect">
                <a:avLst/>
              </a:prstGeom>
            </p:spPr>
          </p:pic>
          <p:sp>
            <p:nvSpPr>
              <p:cNvPr id="77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4979815"/>
                <a:ext cx="215900" cy="2159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78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4979815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Min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255, 0, 0</a:t>
                </a:r>
              </a:p>
            </p:txBody>
          </p:sp>
          <p:sp>
            <p:nvSpPr>
              <p:cNvPr id="79" name="Rectangle 111"/>
              <p:cNvSpPr>
                <a:spLocks noChangeArrowheads="1"/>
              </p:cNvSpPr>
              <p:nvPr userDrawn="1"/>
            </p:nvSpPr>
            <p:spPr bwMode="gray">
              <a:xfrm>
                <a:off x="-1903413" y="5343581"/>
                <a:ext cx="215900" cy="215900"/>
              </a:xfrm>
              <a:prstGeom prst="rect">
                <a:avLst/>
              </a:prstGeom>
              <a:solidFill>
                <a:srgbClr val="019649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GB" sz="892"/>
              </a:p>
            </p:txBody>
          </p:sp>
          <p:sp>
            <p:nvSpPr>
              <p:cNvPr id="80" name="Rectangle 112"/>
              <p:cNvSpPr>
                <a:spLocks noChangeArrowheads="1"/>
              </p:cNvSpPr>
              <p:nvPr userDrawn="1"/>
            </p:nvSpPr>
            <p:spPr bwMode="gray">
              <a:xfrm>
                <a:off x="-1612900" y="5353106"/>
                <a:ext cx="1368000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ING Plus</a:t>
                </a:r>
              </a:p>
              <a:p>
                <a:pPr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dirty="0">
                    <a:solidFill>
                      <a:srgbClr val="333333"/>
                    </a:solidFill>
                  </a:rPr>
                  <a:t>RGB= 52, 150, 81</a:t>
                </a:r>
              </a:p>
            </p:txBody>
          </p:sp>
          <p:sp>
            <p:nvSpPr>
              <p:cNvPr id="81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50038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Primary colours</a:t>
                </a:r>
              </a:p>
            </p:txBody>
          </p:sp>
          <p:sp>
            <p:nvSpPr>
              <p:cNvPr id="82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238042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Secondary colours</a:t>
                </a:r>
              </a:p>
            </p:txBody>
          </p:sp>
          <p:sp>
            <p:nvSpPr>
              <p:cNvPr id="83" name="Rectangle 113"/>
              <p:cNvSpPr>
                <a:spLocks noChangeArrowheads="1"/>
              </p:cNvSpPr>
              <p:nvPr userDrawn="1"/>
            </p:nvSpPr>
            <p:spPr bwMode="gray">
              <a:xfrm>
                <a:off x="-1903413" y="4757632"/>
                <a:ext cx="1692000" cy="1651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  <a:spcAft>
                    <a:spcPct val="20000"/>
                  </a:spcAft>
                </a:pPr>
                <a:r>
                  <a:rPr lang="en-GB" altLang="en-GB" sz="892" b="1" dirty="0">
                    <a:solidFill>
                      <a:srgbClr val="333333"/>
                    </a:solidFill>
                  </a:rPr>
                  <a:t>Functional colou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25" r:id="rId5"/>
    <p:sldLayoutId id="2147483727" r:id="rId6"/>
    <p:sldLayoutId id="2147483728" r:id="rId7"/>
    <p:sldLayoutId id="2147483732" r:id="rId8"/>
    <p:sldLayoutId id="2147483733" r:id="rId9"/>
    <p:sldLayoutId id="2147483734" r:id="rId10"/>
    <p:sldLayoutId id="2147483735" r:id="rId11"/>
    <p:sldLayoutId id="2147483692" r:id="rId12"/>
    <p:sldLayoutId id="2147483711" r:id="rId13"/>
    <p:sldLayoutId id="2147483694" r:id="rId14"/>
    <p:sldLayoutId id="2147483695" r:id="rId15"/>
    <p:sldLayoutId id="2147483696" r:id="rId16"/>
    <p:sldLayoutId id="2147483736" r:id="rId17"/>
    <p:sldLayoutId id="2147483738" r:id="rId18"/>
    <p:sldLayoutId id="2147483739" r:id="rId19"/>
    <p:sldLayoutId id="2147483731" r:id="rId20"/>
    <p:sldLayoutId id="2147483697" r:id="rId21"/>
    <p:sldLayoutId id="2147483740" r:id="rId22"/>
    <p:sldLayoutId id="2147483716" r:id="rId23"/>
    <p:sldLayoutId id="2147483718" r:id="rId24"/>
    <p:sldLayoutId id="2147483719" r:id="rId25"/>
    <p:sldLayoutId id="2147483700" r:id="rId26"/>
    <p:sldLayoutId id="2147483743" r:id="rId27"/>
    <p:sldLayoutId id="2147483742" r:id="rId28"/>
    <p:sldLayoutId id="2147483741" r:id="rId29"/>
    <p:sldLayoutId id="2147483702" r:id="rId30"/>
    <p:sldLayoutId id="2147483706" r:id="rId31"/>
    <p:sldLayoutId id="2147483726" r:id="rId3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5909" rtl="0" eaLnBrk="1" latinLnBrk="0" hangingPunct="1">
        <a:lnSpc>
          <a:spcPts val="2498"/>
        </a:lnSpc>
        <a:spcBef>
          <a:spcPct val="0"/>
        </a:spcBef>
        <a:buNone/>
        <a:defRPr sz="2498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815909" rtl="0" eaLnBrk="1" latinLnBrk="0" hangingPunct="1">
        <a:lnSpc>
          <a:spcPts val="2142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785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815909" rtl="0" eaLnBrk="1" latinLnBrk="0" hangingPunct="1">
        <a:lnSpc>
          <a:spcPts val="2142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785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37974" indent="-237974" algn="l" defTabSz="815909" rtl="0" eaLnBrk="1" latinLnBrk="0" hangingPunct="1">
        <a:lnSpc>
          <a:spcPts val="2142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1785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457533" indent="-232308" algn="l" defTabSz="815909" rtl="0" eaLnBrk="1" latinLnBrk="0" hangingPunct="1">
        <a:lnSpc>
          <a:spcPts val="2142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1785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679925" indent="-225225" algn="l" defTabSz="815909" rtl="0" eaLnBrk="1" latinLnBrk="0" hangingPunct="1">
        <a:lnSpc>
          <a:spcPts val="2142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1785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243750" indent="-203977" algn="l" defTabSz="815909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6" kern="1200">
          <a:solidFill>
            <a:schemeClr val="tx1"/>
          </a:solidFill>
          <a:latin typeface="+mn-lt"/>
          <a:ea typeface="+mn-ea"/>
          <a:cs typeface="+mn-cs"/>
        </a:defRPr>
      </a:lvl6pPr>
      <a:lvl7pPr marL="2651705" indent="-203977" algn="l" defTabSz="815909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6" kern="1200">
          <a:solidFill>
            <a:schemeClr val="tx1"/>
          </a:solidFill>
          <a:latin typeface="+mn-lt"/>
          <a:ea typeface="+mn-ea"/>
          <a:cs typeface="+mn-cs"/>
        </a:defRPr>
      </a:lvl7pPr>
      <a:lvl8pPr marL="3059659" indent="-203977" algn="l" defTabSz="815909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6" kern="1200">
          <a:solidFill>
            <a:schemeClr val="tx1"/>
          </a:solidFill>
          <a:latin typeface="+mn-lt"/>
          <a:ea typeface="+mn-ea"/>
          <a:cs typeface="+mn-cs"/>
        </a:defRPr>
      </a:lvl8pPr>
      <a:lvl9pPr marL="3467613" indent="-203977" algn="l" defTabSz="815909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815909" rtl="0" eaLnBrk="1" latinLnBrk="0" hangingPunct="1">
        <a:defRPr sz="12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416" userDrawn="1">
          <p15:clr>
            <a:srgbClr val="F26B43"/>
          </p15:clr>
        </p15:guide>
        <p15:guide id="6" pos="6371" userDrawn="1">
          <p15:clr>
            <a:srgbClr val="F26B43"/>
          </p15:clr>
        </p15:guide>
        <p15:guide id="8" pos="471" userDrawn="1">
          <p15:clr>
            <a:srgbClr val="F26B43"/>
          </p15:clr>
        </p15:guide>
        <p15:guide id="9" orient="horz" pos="99" userDrawn="1">
          <p15:clr>
            <a:srgbClr val="F26B43"/>
          </p15:clr>
        </p15:guide>
        <p15:guide id="10" orient="horz" pos="2314" userDrawn="1">
          <p15:clr>
            <a:srgbClr val="F26B43"/>
          </p15:clr>
        </p15:guide>
        <p15:guide id="11" orient="horz" pos="2256" userDrawn="1">
          <p15:clr>
            <a:srgbClr val="F26B43"/>
          </p15:clr>
        </p15:guide>
        <p15:guide id="12" orient="horz" pos="462" userDrawn="1">
          <p15:clr>
            <a:srgbClr val="F26B43"/>
          </p15:clr>
        </p15:guide>
        <p15:guide id="13" pos="6684" userDrawn="1">
          <p15:clr>
            <a:srgbClr val="F26B43"/>
          </p15:clr>
        </p15:guide>
        <p15:guide id="14" pos="390" userDrawn="1">
          <p15:clr>
            <a:srgbClr val="F26B43"/>
          </p15:clr>
        </p15:guide>
        <p15:guide id="15" pos="3422" userDrawn="1">
          <p15:clr>
            <a:srgbClr val="F26B43"/>
          </p15:clr>
        </p15:guide>
        <p15:guide id="16" orient="horz" pos="1361" userDrawn="1">
          <p15:clr>
            <a:srgbClr val="F26B43"/>
          </p15:clr>
        </p15:guide>
        <p15:guide id="17" pos="66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2651981"/>
              </p:ext>
            </p:extLst>
          </p:nvPr>
        </p:nvGraphicFramePr>
        <p:xfrm>
          <a:off x="1420" y="-167153"/>
          <a:ext cx="1416" cy="14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0" y="-167153"/>
                        <a:ext cx="1416" cy="14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7" name="Straight Connector 56"/>
          <p:cNvCxnSpPr/>
          <p:nvPr/>
        </p:nvCxnSpPr>
        <p:spPr>
          <a:xfrm>
            <a:off x="1838962" y="740727"/>
            <a:ext cx="8644467" cy="0"/>
          </a:xfrm>
          <a:prstGeom prst="line">
            <a:avLst/>
          </a:prstGeom>
          <a:ln w="38100">
            <a:solidFill>
              <a:srgbClr val="A8A8A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1553210" y="376661"/>
            <a:ext cx="5715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/>
              <a:t>2010</a:t>
            </a:r>
            <a:endParaRPr lang="en-GB" sz="1400" dirty="0"/>
          </a:p>
        </p:txBody>
      </p:sp>
      <p:sp>
        <p:nvSpPr>
          <p:cNvPr id="59" name="TextBox 58"/>
          <p:cNvSpPr txBox="1"/>
          <p:nvPr/>
        </p:nvSpPr>
        <p:spPr>
          <a:xfrm>
            <a:off x="10197677" y="376660"/>
            <a:ext cx="5715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/>
              <a:t>2017</a:t>
            </a:r>
            <a:endParaRPr lang="en-GB" sz="1400" dirty="0"/>
          </a:p>
        </p:txBody>
      </p:sp>
      <p:sp>
        <p:nvSpPr>
          <p:cNvPr id="60" name="TextBox 59"/>
          <p:cNvSpPr txBox="1"/>
          <p:nvPr/>
        </p:nvSpPr>
        <p:spPr>
          <a:xfrm>
            <a:off x="2788134" y="376659"/>
            <a:ext cx="5715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/>
              <a:t>2011</a:t>
            </a:r>
            <a:endParaRPr lang="en-GB" sz="1400" dirty="0"/>
          </a:p>
        </p:txBody>
      </p:sp>
      <p:sp>
        <p:nvSpPr>
          <p:cNvPr id="61" name="TextBox 60"/>
          <p:cNvSpPr txBox="1"/>
          <p:nvPr/>
        </p:nvSpPr>
        <p:spPr>
          <a:xfrm>
            <a:off x="4023058" y="376659"/>
            <a:ext cx="5715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/>
              <a:t>2012</a:t>
            </a:r>
            <a:endParaRPr lang="en-GB" sz="1400" dirty="0"/>
          </a:p>
        </p:txBody>
      </p:sp>
      <p:sp>
        <p:nvSpPr>
          <p:cNvPr id="62" name="TextBox 61"/>
          <p:cNvSpPr txBox="1"/>
          <p:nvPr/>
        </p:nvSpPr>
        <p:spPr>
          <a:xfrm>
            <a:off x="5257982" y="376659"/>
            <a:ext cx="5715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/>
              <a:t>2013</a:t>
            </a:r>
            <a:endParaRPr lang="en-GB" sz="1400" dirty="0"/>
          </a:p>
        </p:txBody>
      </p:sp>
      <p:sp>
        <p:nvSpPr>
          <p:cNvPr id="63" name="TextBox 62"/>
          <p:cNvSpPr txBox="1"/>
          <p:nvPr/>
        </p:nvSpPr>
        <p:spPr>
          <a:xfrm>
            <a:off x="6492906" y="376659"/>
            <a:ext cx="5715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/>
              <a:t>2014</a:t>
            </a:r>
            <a:endParaRPr lang="en-GB" sz="1400" dirty="0"/>
          </a:p>
        </p:txBody>
      </p:sp>
      <p:sp>
        <p:nvSpPr>
          <p:cNvPr id="64" name="TextBox 63"/>
          <p:cNvSpPr txBox="1"/>
          <p:nvPr/>
        </p:nvSpPr>
        <p:spPr>
          <a:xfrm>
            <a:off x="7727830" y="376659"/>
            <a:ext cx="5715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/>
              <a:t>2015</a:t>
            </a:r>
            <a:endParaRPr lang="en-GB" sz="1400" dirty="0"/>
          </a:p>
        </p:txBody>
      </p:sp>
      <p:sp>
        <p:nvSpPr>
          <p:cNvPr id="65" name="TextBox 64"/>
          <p:cNvSpPr txBox="1"/>
          <p:nvPr/>
        </p:nvSpPr>
        <p:spPr>
          <a:xfrm>
            <a:off x="8962754" y="376658"/>
            <a:ext cx="5715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/>
              <a:t>2016</a:t>
            </a:r>
            <a:endParaRPr lang="en-GB" sz="1400" dirty="0"/>
          </a:p>
        </p:txBody>
      </p:sp>
      <p:sp>
        <p:nvSpPr>
          <p:cNvPr id="66" name="TextBox 65"/>
          <p:cNvSpPr txBox="1"/>
          <p:nvPr/>
        </p:nvSpPr>
        <p:spPr>
          <a:xfrm>
            <a:off x="318048" y="376657"/>
            <a:ext cx="1162956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l-NL" sz="1400" dirty="0" err="1"/>
              <a:t>All</a:t>
            </a:r>
            <a:r>
              <a:rPr lang="nl-NL" sz="1400" dirty="0"/>
              <a:t> </a:t>
            </a:r>
            <a:r>
              <a:rPr lang="nl-NL" sz="1400" dirty="0" err="1"/>
              <a:t>available</a:t>
            </a:r>
            <a:r>
              <a:rPr lang="nl-NL" sz="1400" dirty="0"/>
              <a:t> data</a:t>
            </a:r>
            <a:endParaRPr lang="en-GB" sz="1400" dirty="0"/>
          </a:p>
        </p:txBody>
      </p:sp>
      <p:sp>
        <p:nvSpPr>
          <p:cNvPr id="67" name="TextBox 66"/>
          <p:cNvSpPr txBox="1"/>
          <p:nvPr/>
        </p:nvSpPr>
        <p:spPr>
          <a:xfrm>
            <a:off x="317255" y="1384193"/>
            <a:ext cx="1162956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l-NL" sz="1400" dirty="0"/>
              <a:t>Sliding </a:t>
            </a:r>
            <a:r>
              <a:rPr lang="nl-NL" sz="1400" dirty="0" err="1"/>
              <a:t>window</a:t>
            </a:r>
            <a:r>
              <a:rPr lang="nl-NL" sz="1400" dirty="0"/>
              <a:t> 1</a:t>
            </a:r>
            <a:endParaRPr lang="en-GB" sz="1400" dirty="0"/>
          </a:p>
        </p:txBody>
      </p:sp>
      <p:sp>
        <p:nvSpPr>
          <p:cNvPr id="68" name="Rectangle 67"/>
          <p:cNvSpPr/>
          <p:nvPr/>
        </p:nvSpPr>
        <p:spPr>
          <a:xfrm>
            <a:off x="1855893" y="1519667"/>
            <a:ext cx="4905832" cy="262467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/>
              <a:t>data </a:t>
            </a:r>
            <a:r>
              <a:rPr lang="nl-NL" sz="1600" dirty="0" err="1"/>
              <a:t>used</a:t>
            </a:r>
            <a:r>
              <a:rPr lang="nl-NL" sz="1600" dirty="0"/>
              <a:t> </a:t>
            </a:r>
            <a:r>
              <a:rPr lang="nl-NL" sz="1600" dirty="0" err="1"/>
              <a:t>for</a:t>
            </a:r>
            <a:r>
              <a:rPr lang="nl-NL" sz="1600" dirty="0"/>
              <a:t> training</a:t>
            </a:r>
            <a:endParaRPr lang="en-GB" sz="1600" dirty="0"/>
          </a:p>
        </p:txBody>
      </p:sp>
      <p:sp>
        <p:nvSpPr>
          <p:cNvPr id="69" name="Rectangle 68"/>
          <p:cNvSpPr/>
          <p:nvPr/>
        </p:nvSpPr>
        <p:spPr>
          <a:xfrm>
            <a:off x="6812277" y="1519662"/>
            <a:ext cx="2412000" cy="262468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/>
              <a:t>data </a:t>
            </a:r>
            <a:r>
              <a:rPr lang="nl-NL" sz="1600" dirty="0" err="1"/>
              <a:t>used</a:t>
            </a:r>
            <a:r>
              <a:rPr lang="nl-NL" sz="1600" dirty="0"/>
              <a:t> </a:t>
            </a:r>
            <a:r>
              <a:rPr lang="nl-NL" sz="1600" dirty="0" err="1"/>
              <a:t>for</a:t>
            </a:r>
            <a:r>
              <a:rPr lang="nl-NL" sz="1600" dirty="0"/>
              <a:t> </a:t>
            </a:r>
            <a:r>
              <a:rPr lang="nl-NL" sz="1600" dirty="0" err="1"/>
              <a:t>validation</a:t>
            </a:r>
            <a:endParaRPr lang="en-GB" sz="1600" dirty="0"/>
          </a:p>
        </p:txBody>
      </p:sp>
      <p:sp>
        <p:nvSpPr>
          <p:cNvPr id="70" name="TextBox 69"/>
          <p:cNvSpPr txBox="1"/>
          <p:nvPr/>
        </p:nvSpPr>
        <p:spPr>
          <a:xfrm>
            <a:off x="317255" y="2067408"/>
            <a:ext cx="1162956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l-NL" sz="1400" dirty="0"/>
              <a:t>Sliding </a:t>
            </a:r>
            <a:r>
              <a:rPr lang="nl-NL" sz="1400" dirty="0" err="1"/>
              <a:t>window</a:t>
            </a:r>
            <a:r>
              <a:rPr lang="nl-NL" sz="1400" dirty="0"/>
              <a:t> 2</a:t>
            </a:r>
            <a:endParaRPr lang="en-GB" sz="1400" dirty="0"/>
          </a:p>
        </p:txBody>
      </p:sp>
      <p:sp>
        <p:nvSpPr>
          <p:cNvPr id="71" name="TextBox 70"/>
          <p:cNvSpPr txBox="1"/>
          <p:nvPr/>
        </p:nvSpPr>
        <p:spPr>
          <a:xfrm>
            <a:off x="317255" y="2742150"/>
            <a:ext cx="1162956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l-NL" sz="1400" dirty="0"/>
              <a:t>Sliding </a:t>
            </a:r>
            <a:r>
              <a:rPr lang="nl-NL" sz="1400" dirty="0" err="1"/>
              <a:t>window</a:t>
            </a:r>
            <a:r>
              <a:rPr lang="nl-NL" sz="1400" dirty="0"/>
              <a:t> 3</a:t>
            </a:r>
            <a:endParaRPr lang="en-GB" sz="1400" dirty="0"/>
          </a:p>
        </p:txBody>
      </p:sp>
      <p:cxnSp>
        <p:nvCxnSpPr>
          <p:cNvPr id="72" name="Straight Connector 71"/>
          <p:cNvCxnSpPr/>
          <p:nvPr/>
        </p:nvCxnSpPr>
        <p:spPr>
          <a:xfrm>
            <a:off x="1838960" y="740727"/>
            <a:ext cx="0" cy="2880000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3040017" y="740727"/>
            <a:ext cx="0" cy="2880000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4285827" y="740727"/>
            <a:ext cx="0" cy="2880000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5518332" y="740727"/>
            <a:ext cx="0" cy="2880000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>
            <a:off x="6778656" y="740727"/>
            <a:ext cx="0" cy="2880000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8013580" y="740727"/>
            <a:ext cx="0" cy="2880000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9231571" y="740727"/>
            <a:ext cx="0" cy="2880000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/>
          <p:cNvSpPr/>
          <p:nvPr/>
        </p:nvSpPr>
        <p:spPr>
          <a:xfrm>
            <a:off x="1855893" y="2190643"/>
            <a:ext cx="5174649" cy="262467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/>
              <a:t>data </a:t>
            </a:r>
            <a:r>
              <a:rPr lang="nl-NL" sz="1600" dirty="0" err="1"/>
              <a:t>used</a:t>
            </a:r>
            <a:r>
              <a:rPr lang="nl-NL" sz="1600" dirty="0"/>
              <a:t> </a:t>
            </a:r>
            <a:r>
              <a:rPr lang="nl-NL" sz="1600" dirty="0" err="1"/>
              <a:t>for</a:t>
            </a:r>
            <a:r>
              <a:rPr lang="nl-NL" sz="1600" dirty="0"/>
              <a:t> training</a:t>
            </a:r>
            <a:endParaRPr lang="en-GB" sz="1600" dirty="0"/>
          </a:p>
        </p:txBody>
      </p:sp>
      <p:sp>
        <p:nvSpPr>
          <p:cNvPr id="80" name="Rectangle 79"/>
          <p:cNvSpPr/>
          <p:nvPr/>
        </p:nvSpPr>
        <p:spPr>
          <a:xfrm>
            <a:off x="7060774" y="2190638"/>
            <a:ext cx="2412000" cy="262468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/>
              <a:t>data </a:t>
            </a:r>
            <a:r>
              <a:rPr lang="nl-NL" sz="1600" dirty="0" err="1"/>
              <a:t>used</a:t>
            </a:r>
            <a:r>
              <a:rPr lang="nl-NL" sz="1600" dirty="0"/>
              <a:t> </a:t>
            </a:r>
            <a:r>
              <a:rPr lang="nl-NL" sz="1600" dirty="0" err="1"/>
              <a:t>for</a:t>
            </a:r>
            <a:r>
              <a:rPr lang="nl-NL" sz="1600" dirty="0"/>
              <a:t> </a:t>
            </a:r>
            <a:r>
              <a:rPr lang="nl-NL" sz="1600" dirty="0" err="1"/>
              <a:t>validation</a:t>
            </a:r>
            <a:endParaRPr lang="en-GB" sz="1600" dirty="0"/>
          </a:p>
        </p:txBody>
      </p:sp>
      <p:sp>
        <p:nvSpPr>
          <p:cNvPr id="81" name="Rectangle 80"/>
          <p:cNvSpPr/>
          <p:nvPr/>
        </p:nvSpPr>
        <p:spPr>
          <a:xfrm>
            <a:off x="1855894" y="2815063"/>
            <a:ext cx="5373802" cy="262467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/>
              <a:t>data </a:t>
            </a:r>
            <a:r>
              <a:rPr lang="nl-NL" sz="1600" dirty="0" err="1"/>
              <a:t>used</a:t>
            </a:r>
            <a:r>
              <a:rPr lang="nl-NL" sz="1600" dirty="0"/>
              <a:t> </a:t>
            </a:r>
            <a:r>
              <a:rPr lang="nl-NL" sz="1600" dirty="0" err="1"/>
              <a:t>for</a:t>
            </a:r>
            <a:r>
              <a:rPr lang="nl-NL" sz="1600" dirty="0"/>
              <a:t> training</a:t>
            </a:r>
            <a:endParaRPr lang="en-GB" sz="1600" dirty="0"/>
          </a:p>
        </p:txBody>
      </p:sp>
      <p:sp>
        <p:nvSpPr>
          <p:cNvPr id="82" name="Rectangle 81"/>
          <p:cNvSpPr/>
          <p:nvPr/>
        </p:nvSpPr>
        <p:spPr>
          <a:xfrm>
            <a:off x="7259927" y="2815058"/>
            <a:ext cx="2412000" cy="262468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/>
              <a:t>data </a:t>
            </a:r>
            <a:r>
              <a:rPr lang="nl-NL" sz="1600" dirty="0" err="1"/>
              <a:t>used</a:t>
            </a:r>
            <a:r>
              <a:rPr lang="nl-NL" sz="1600" dirty="0"/>
              <a:t> </a:t>
            </a:r>
            <a:r>
              <a:rPr lang="nl-NL" sz="1600" dirty="0" err="1"/>
              <a:t>for</a:t>
            </a:r>
            <a:r>
              <a:rPr lang="nl-NL" sz="1600" dirty="0"/>
              <a:t> </a:t>
            </a:r>
            <a:r>
              <a:rPr lang="nl-NL" sz="1600" dirty="0" err="1"/>
              <a:t>validation</a:t>
            </a:r>
            <a:endParaRPr lang="en-GB" sz="1600" dirty="0"/>
          </a:p>
        </p:txBody>
      </p:sp>
      <p:sp>
        <p:nvSpPr>
          <p:cNvPr id="83" name="TextBox 82"/>
          <p:cNvSpPr txBox="1"/>
          <p:nvPr/>
        </p:nvSpPr>
        <p:spPr>
          <a:xfrm>
            <a:off x="352693" y="3376434"/>
            <a:ext cx="1162956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l-NL" sz="1400" dirty="0"/>
              <a:t>Etc.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855733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G_PP_Template_16x9_April2017">
  <a:themeElements>
    <a:clrScheme name="ING 2016">
      <a:dk1>
        <a:srgbClr val="333333"/>
      </a:dk1>
      <a:lt1>
        <a:sysClr val="window" lastClr="FFFFFF"/>
      </a:lt1>
      <a:dk2>
        <a:srgbClr val="FF6200"/>
      </a:dk2>
      <a:lt2>
        <a:srgbClr val="696969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accent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 name="ING Orange">
      <a:srgbClr val="FF6200"/>
    </a:custClr>
    <a:custClr name="ING Light Grey">
      <a:srgbClr val="A8A8A8"/>
    </a:custClr>
    <a:custClr name="ING Mid Grey">
      <a:srgbClr val="696969"/>
    </a:custClr>
    <a:custClr name="ING Text color">
      <a:srgbClr val="333333"/>
    </a:custClr>
    <a:custClr name="ING Indigo">
      <a:srgbClr val="525199"/>
    </a:custClr>
    <a:custClr name="ING Sky">
      <a:srgbClr val="60A6DA"/>
    </a:custClr>
    <a:custClr name="ING Fuchsia">
      <a:srgbClr val="AB0066"/>
    </a:custClr>
    <a:custClr name="ING Lime">
      <a:srgbClr val="D0D93C"/>
    </a:custClr>
    <a:custClr name="ING Leaf / Plus">
      <a:srgbClr val="349651"/>
    </a:custClr>
    <a:custClr name="ING Minus">
      <a:srgbClr val="FF0000"/>
    </a:custClr>
  </a:custClrLst>
  <a:extLst>
    <a:ext uri="{05A4C25C-085E-4340-85A3-A5531E510DB2}">
      <thm15:themeFamily xmlns:thm15="http://schemas.microsoft.com/office/thememl/2012/main" name="01 Corporate template 16x9.potx" id="{B72F318C-4168-43A3-BD78-483577BCD89C}" vid="{8F52D876-317E-44FF-A1D4-F56E443EDAD3}"/>
    </a:ext>
  </a:extLst>
</a:theme>
</file>

<file path=ppt/theme/theme2.xml><?xml version="1.0" encoding="utf-8"?>
<a:theme xmlns:a="http://schemas.openxmlformats.org/drawingml/2006/main" name="Office Theme">
  <a:themeElements>
    <a:clrScheme name="ING 2016">
      <a:dk1>
        <a:srgbClr val="333333"/>
      </a:dk1>
      <a:lt1>
        <a:sysClr val="window" lastClr="FFFFFF"/>
      </a:lt1>
      <a:dk2>
        <a:srgbClr val="FF6200"/>
      </a:dk2>
      <a:lt2>
        <a:srgbClr val="696969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1 Corporate template 16x9</Template>
  <TotalTime>129</TotalTime>
  <Words>46</Words>
  <Application>Microsoft Office PowerPoint</Application>
  <PresentationFormat>Custom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ING Me</vt:lpstr>
      <vt:lpstr>ING_PP_Template_16x9_April2017</vt:lpstr>
      <vt:lpstr>think-cell Slide</vt:lpstr>
      <vt:lpstr>PowerPoint Presentation</vt:lpstr>
    </vt:vector>
  </TitlesOfParts>
  <Company>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s, G. van den (Gertjan)</dc:creator>
  <cp:keywords>16x9; Think Forward; External</cp:keywords>
  <dc:description>May 2017</dc:description>
  <cp:lastModifiedBy>Bos, G. van den (Gertjan)</cp:lastModifiedBy>
  <cp:revision>12</cp:revision>
  <dcterms:created xsi:type="dcterms:W3CDTF">2017-12-04T13:37:34Z</dcterms:created>
  <dcterms:modified xsi:type="dcterms:W3CDTF">2018-08-30T12:08:09Z</dcterms:modified>
  <cp:version>3</cp:version>
</cp:coreProperties>
</file>